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57" r:id="rId3"/>
    <p:sldId id="272" r:id="rId4"/>
    <p:sldId id="273" r:id="rId5"/>
    <p:sldId id="271" r:id="rId6"/>
    <p:sldId id="274" r:id="rId7"/>
    <p:sldId id="265" r:id="rId8"/>
    <p:sldId id="276" r:id="rId9"/>
    <p:sldId id="277" r:id="rId10"/>
    <p:sldId id="263" r:id="rId11"/>
    <p:sldId id="288" r:id="rId12"/>
    <p:sldId id="281" r:id="rId13"/>
    <p:sldId id="283" r:id="rId14"/>
    <p:sldId id="287" r:id="rId15"/>
    <p:sldId id="259" r:id="rId16"/>
  </p:sldIdLst>
  <p:sldSz cx="12192000" cy="6858000"/>
  <p:notesSz cx="12192000" cy="6858000"/>
  <p:custDataLst>
    <p:tags r:id="rId18"/>
  </p:custDataLst>
  <p:defaultTextStyle>
    <a:defPPr>
      <a:defRPr lang="de-DE"/>
    </a:defPPr>
    <a:lvl1pPr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1pPr>
    <a:lvl2pPr marL="4572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2pPr>
    <a:lvl3pPr marL="9144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3pPr>
    <a:lvl4pPr marL="13716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4pPr>
    <a:lvl5pPr marL="1828800" algn="l">
      <a:spcBef>
        <a:spcPts val="0"/>
      </a:spcBef>
      <a:spcAft>
        <a:spcPts val="0"/>
      </a:spcAft>
      <a:defRPr sz="1000">
        <a:solidFill>
          <a:schemeClr val="tx1"/>
        </a:solidFill>
        <a:latin typeface="Arial"/>
        <a:ea typeface="+mn-ea"/>
        <a:cs typeface="+mn-cs"/>
      </a:defRPr>
    </a:lvl5pPr>
    <a:lvl6pPr marL="2286000" algn="l" defTabSz="914400">
      <a:defRPr sz="1000">
        <a:solidFill>
          <a:schemeClr val="tx1"/>
        </a:solidFill>
        <a:latin typeface="Arial"/>
        <a:ea typeface="+mn-ea"/>
        <a:cs typeface="+mn-cs"/>
      </a:defRPr>
    </a:lvl6pPr>
    <a:lvl7pPr marL="2743200" algn="l" defTabSz="914400">
      <a:defRPr sz="1000">
        <a:solidFill>
          <a:schemeClr val="tx1"/>
        </a:solidFill>
        <a:latin typeface="Arial"/>
        <a:ea typeface="+mn-ea"/>
        <a:cs typeface="+mn-cs"/>
      </a:defRPr>
    </a:lvl7pPr>
    <a:lvl8pPr marL="3200400" algn="l" defTabSz="914400">
      <a:defRPr sz="1000">
        <a:solidFill>
          <a:schemeClr val="tx1"/>
        </a:solidFill>
        <a:latin typeface="Arial"/>
        <a:ea typeface="+mn-ea"/>
        <a:cs typeface="+mn-cs"/>
      </a:defRPr>
    </a:lvl8pPr>
    <a:lvl9pPr marL="3657600" algn="l" defTabSz="914400">
      <a:defRPr sz="1000">
        <a:solidFill>
          <a:schemeClr val="tx1"/>
        </a:solidFill>
        <a:latin typeface="Arial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4D7F"/>
    <a:srgbClr val="EF7430"/>
    <a:srgbClr val="517199"/>
    <a:srgbClr val="DDC0E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8EA7970-3DAB-8E39-E5F4-0B4DA50DC06B}">
  <a:tblStyle styleId="{38EA7970-3DAB-8E39-E5F4-0B4DA50DC06B}" styleName="No Style, Table Grid">
    <a:wholeTbl>
      <a:tcTxStyle>
        <a:fontRef idx="minor"/>
        <a:schemeClr val="dk1"/>
      </a:tcTxStyle>
      <a:tcStyle>
        <a:tcBdr>
          <a:left>
            <a:ln w="12700">
              <a:solidFill>
                <a:schemeClr val="dk1"/>
              </a:solidFill>
            </a:ln>
          </a:left>
          <a:right>
            <a:ln w="12700">
              <a:solidFill>
                <a:schemeClr val="dk1"/>
              </a:solidFill>
            </a:ln>
          </a:right>
          <a:top>
            <a:ln w="12700">
              <a:solidFill>
                <a:schemeClr val="dk1"/>
              </a:solidFill>
            </a:ln>
          </a:top>
          <a:bottom>
            <a:ln w="12700">
              <a:solidFill>
                <a:schemeClr val="dk1"/>
              </a:solidFill>
            </a:ln>
          </a:bottom>
          <a:insideH>
            <a:ln w="12700">
              <a:solidFill>
                <a:schemeClr val="dk1"/>
              </a:solidFill>
            </a:ln>
          </a:insideH>
          <a:insideV>
            <a:ln w="12700">
              <a:solidFill>
                <a:schemeClr val="dk1"/>
              </a:solidFill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lt1"/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lt1"/>
          </a:solidFill>
        </a:fill>
      </a:tcStyle>
    </a:band1V>
    <a:band2V>
      <a:tcStyle>
        <a:tcBdr/>
        <a:fill>
          <a:solidFill>
            <a:schemeClr val="lt1"/>
          </a:solidFill>
        </a:fill>
      </a:tcStyle>
    </a:band2V>
    <a:lastCol>
      <a:tcTxStyle b="on">
        <a:fontRef idx="minor"/>
        <a:schemeClr val="dk1"/>
      </a:tcTxStyle>
      <a:tcStyle>
        <a:tcBdr/>
        <a:fill>
          <a:solidFill>
            <a:schemeClr val="lt1"/>
          </a:solidFill>
        </a:fill>
      </a:tcStyle>
    </a:lastCol>
    <a:firstCol>
      <a:tcTxStyle b="on">
        <a:fontRef idx="minor"/>
        <a:schemeClr val="dk1"/>
      </a:tcTxStyle>
      <a:tcStyle>
        <a:tcBdr/>
        <a:fill>
          <a:solidFill>
            <a:schemeClr val="lt1"/>
          </a:solidFill>
        </a:fill>
      </a:tcStyle>
    </a:firstCol>
    <a:lastRow>
      <a:tcTxStyle b="on">
        <a:fontRef idx="minor"/>
        <a:schemeClr val="dk1"/>
      </a:tcTxStyle>
      <a:tcStyle>
        <a:tcBdr>
          <a:top>
            <a:ln w="12700">
              <a:solidFill>
                <a:schemeClr val="lt1"/>
              </a:solidFill>
            </a:ln>
          </a:top>
        </a:tcBdr>
        <a:fill>
          <a:solidFill>
            <a:schemeClr val="l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/>
        <a:schemeClr val="dk1"/>
      </a:tcTxStyle>
      <a:tcStyle>
        <a:tcBdr>
          <a:bottom>
            <a:ln w="12700">
              <a:solidFill>
                <a:schemeClr val="dk1"/>
              </a:solidFill>
            </a:ln>
          </a:bottom>
        </a:tcBdr>
        <a:fill>
          <a:solidFill>
            <a:schemeClr val="l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0" autoAdjust="0"/>
    <p:restoredTop sz="94660"/>
  </p:normalViewPr>
  <p:slideViewPr>
    <p:cSldViewPr>
      <p:cViewPr varScale="1">
        <p:scale>
          <a:sx n="61" d="100"/>
          <a:sy n="61" d="100"/>
        </p:scale>
        <p:origin x="836" y="6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7F1314-FF45-43D3-9FF3-D9648849DFB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178D1ED-439A-4F57-999B-405EBC668ADF}">
      <dgm:prSet phldrT="[Text]"/>
      <dgm:spPr>
        <a:solidFill>
          <a:srgbClr val="EF7430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Smartphone mit </a:t>
          </a:r>
          <a:r>
            <a:rPr lang="de-DE" dirty="0" smtClean="0">
              <a:latin typeface="Atkinson Hyperlegible" pitchFamily="2" charset="0"/>
            </a:rPr>
            <a:t>Authentifizierungs-App</a:t>
          </a:r>
          <a:endParaRPr lang="de-DE" dirty="0">
            <a:latin typeface="Atkinson Hyperlegible" pitchFamily="2" charset="0"/>
          </a:endParaRPr>
        </a:p>
      </dgm:t>
    </dgm:pt>
    <dgm:pt modelId="{46DB9979-EDEB-4786-953B-B296C9BCE3CB}" type="parTrans" cxnId="{53065B4E-70F4-4940-9821-5258DEA4AA13}">
      <dgm:prSet/>
      <dgm:spPr/>
      <dgm:t>
        <a:bodyPr/>
        <a:lstStyle/>
        <a:p>
          <a:endParaRPr lang="de-DE"/>
        </a:p>
      </dgm:t>
    </dgm:pt>
    <dgm:pt modelId="{EB8B912A-565D-46CB-A68B-F9725371648F}" type="sibTrans" cxnId="{53065B4E-70F4-4940-9821-5258DEA4AA13}">
      <dgm:prSet/>
      <dgm:spPr/>
      <dgm:t>
        <a:bodyPr/>
        <a:lstStyle/>
        <a:p>
          <a:endParaRPr lang="de-DE"/>
        </a:p>
      </dgm:t>
    </dgm:pt>
    <dgm:pt modelId="{2CC31358-0154-4CB9-AFE8-421A1AA5337B}">
      <dgm:prSet phldrT="[Text]"/>
      <dgm:spPr>
        <a:solidFill>
          <a:srgbClr val="264D7F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Namen für das zu hinterlegende Gerät wählen</a:t>
          </a:r>
        </a:p>
      </dgm:t>
    </dgm:pt>
    <dgm:pt modelId="{8B30BD2D-E19A-4F87-A019-284052B49037}" type="parTrans" cxnId="{38D8C6E1-6094-4432-8058-640CD3AD5B3A}">
      <dgm:prSet/>
      <dgm:spPr/>
      <dgm:t>
        <a:bodyPr/>
        <a:lstStyle/>
        <a:p>
          <a:endParaRPr lang="de-DE"/>
        </a:p>
      </dgm:t>
    </dgm:pt>
    <dgm:pt modelId="{FD1644EA-6B5A-49B3-BECB-D5BB263E8D13}" type="sibTrans" cxnId="{38D8C6E1-6094-4432-8058-640CD3AD5B3A}">
      <dgm:prSet/>
      <dgm:spPr/>
      <dgm:t>
        <a:bodyPr/>
        <a:lstStyle/>
        <a:p>
          <a:endParaRPr lang="de-DE"/>
        </a:p>
      </dgm:t>
    </dgm:pt>
    <dgm:pt modelId="{0DAF5E4B-E9FE-4792-8476-6F4C49666CA5}">
      <dgm:prSet phldrT="[Text]"/>
      <dgm:spPr>
        <a:solidFill>
          <a:srgbClr val="EF7430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Öffnen der </a:t>
          </a:r>
          <a:r>
            <a:rPr lang="de-DE" dirty="0" smtClean="0">
              <a:latin typeface="Atkinson Hyperlegible" pitchFamily="2" charset="0"/>
            </a:rPr>
            <a:t>Authentifizierungs-App </a:t>
          </a:r>
          <a:r>
            <a:rPr lang="de-DE" dirty="0">
              <a:latin typeface="Atkinson Hyperlegible" pitchFamily="2" charset="0"/>
            </a:rPr>
            <a:t>und </a:t>
          </a:r>
          <a:r>
            <a:rPr lang="de-DE" dirty="0" smtClean="0">
              <a:latin typeface="Atkinson Hyperlegible" pitchFamily="2" charset="0"/>
            </a:rPr>
            <a:t>Eintrag </a:t>
          </a:r>
          <a:r>
            <a:rPr lang="de-DE" dirty="0">
              <a:latin typeface="Atkinson Hyperlegible" pitchFamily="2" charset="0"/>
            </a:rPr>
            <a:t>hinzufügen</a:t>
          </a:r>
        </a:p>
      </dgm:t>
    </dgm:pt>
    <dgm:pt modelId="{01DC2478-3CD3-417B-BE82-844117F2B60D}" type="parTrans" cxnId="{770CF927-8E8D-48F0-97FC-97B41F039B68}">
      <dgm:prSet/>
      <dgm:spPr/>
      <dgm:t>
        <a:bodyPr/>
        <a:lstStyle/>
        <a:p>
          <a:endParaRPr lang="de-DE"/>
        </a:p>
      </dgm:t>
    </dgm:pt>
    <dgm:pt modelId="{8139BEAF-FC37-4F54-B2D8-913D6DEA6345}" type="sibTrans" cxnId="{770CF927-8E8D-48F0-97FC-97B41F039B68}">
      <dgm:prSet/>
      <dgm:spPr/>
      <dgm:t>
        <a:bodyPr/>
        <a:lstStyle/>
        <a:p>
          <a:endParaRPr lang="de-DE"/>
        </a:p>
      </dgm:t>
    </dgm:pt>
    <dgm:pt modelId="{779BF5D9-5280-4B9A-A08D-5227C5598032}">
      <dgm:prSet phldrT="[Text]"/>
      <dgm:spPr>
        <a:solidFill>
          <a:srgbClr val="EF7430"/>
        </a:solidFill>
      </dgm:spPr>
      <dgm:t>
        <a:bodyPr/>
        <a:lstStyle/>
        <a:p>
          <a:r>
            <a:rPr lang="de-DE" dirty="0">
              <a:latin typeface="Atkinson Hyperlegible" pitchFamily="2" charset="0"/>
            </a:rPr>
            <a:t>QR-Code scannen</a:t>
          </a:r>
        </a:p>
      </dgm:t>
    </dgm:pt>
    <dgm:pt modelId="{F33C4A67-085E-428D-AD46-D5E3F00BAAE8}" type="parTrans" cxnId="{9B64CBC9-CD89-4694-9A50-FFC927263902}">
      <dgm:prSet/>
      <dgm:spPr/>
      <dgm:t>
        <a:bodyPr/>
        <a:lstStyle/>
        <a:p>
          <a:endParaRPr lang="de-DE"/>
        </a:p>
      </dgm:t>
    </dgm:pt>
    <dgm:pt modelId="{80586D15-A472-4470-AE7B-2B2C3598CFC9}" type="sibTrans" cxnId="{9B64CBC9-CD89-4694-9A50-FFC927263902}">
      <dgm:prSet/>
      <dgm:spPr/>
      <dgm:t>
        <a:bodyPr/>
        <a:lstStyle/>
        <a:p>
          <a:endParaRPr lang="de-DE"/>
        </a:p>
      </dgm:t>
    </dgm:pt>
    <dgm:pt modelId="{1C526AEA-0F04-407C-991F-0C1DE1A3C5A2}">
      <dgm:prSet phldrT="[Text]"/>
      <dgm:spPr>
        <a:solidFill>
          <a:srgbClr val="264D7F"/>
        </a:solidFill>
      </dgm:spPr>
      <dgm:t>
        <a:bodyPr/>
        <a:lstStyle/>
        <a:p>
          <a:r>
            <a:rPr lang="de-DE" dirty="0" smtClean="0">
              <a:latin typeface="Atkinson Hyperlegible" pitchFamily="2" charset="0"/>
            </a:rPr>
            <a:t>6-stelligen Authentifizierungscode eingeben</a:t>
          </a:r>
          <a:endParaRPr lang="de-DE" dirty="0">
            <a:latin typeface="Atkinson Hyperlegible" pitchFamily="2" charset="0"/>
          </a:endParaRPr>
        </a:p>
      </dgm:t>
    </dgm:pt>
    <dgm:pt modelId="{235D5F36-4C38-48D3-A9F7-4AEE1BEF45E2}" type="parTrans" cxnId="{A390E0D0-9C98-4F23-AFFE-C6946DCF2A03}">
      <dgm:prSet/>
      <dgm:spPr/>
      <dgm:t>
        <a:bodyPr/>
        <a:lstStyle/>
        <a:p>
          <a:endParaRPr lang="de-DE"/>
        </a:p>
      </dgm:t>
    </dgm:pt>
    <dgm:pt modelId="{F8AF60DA-B9E3-407A-B88E-4CD8ACF2A02C}" type="sibTrans" cxnId="{A390E0D0-9C98-4F23-AFFE-C6946DCF2A03}">
      <dgm:prSet/>
      <dgm:spPr/>
      <dgm:t>
        <a:bodyPr/>
        <a:lstStyle/>
        <a:p>
          <a:endParaRPr lang="de-DE"/>
        </a:p>
      </dgm:t>
    </dgm:pt>
    <dgm:pt modelId="{AA82D9E3-FF81-4175-97E3-1A23D5FCFE9D}" type="pres">
      <dgm:prSet presAssocID="{DF7F1314-FF45-43D3-9FF3-D9648849DFB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4F6E008-38BF-4EFA-8ABD-FCA80D5D6605}" type="pres">
      <dgm:prSet presAssocID="{D178D1ED-439A-4F57-999B-405EBC668ADF}" presName="parentLin" presStyleCnt="0"/>
      <dgm:spPr/>
    </dgm:pt>
    <dgm:pt modelId="{158138F8-03B3-41E4-ADB9-2F18AAE6CD53}" type="pres">
      <dgm:prSet presAssocID="{D178D1ED-439A-4F57-999B-405EBC668ADF}" presName="parentLeftMargin" presStyleLbl="node1" presStyleIdx="0" presStyleCnt="5"/>
      <dgm:spPr/>
      <dgm:t>
        <a:bodyPr/>
        <a:lstStyle/>
        <a:p>
          <a:endParaRPr lang="de-DE"/>
        </a:p>
      </dgm:t>
    </dgm:pt>
    <dgm:pt modelId="{EC971A39-59A2-4FF1-8EBF-B8E296D62C38}" type="pres">
      <dgm:prSet presAssocID="{D178D1ED-439A-4F57-999B-405EBC668ADF}" presName="parentText" presStyleLbl="node1" presStyleIdx="0" presStyleCnt="5" custScaleX="1386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BD9798F-19FB-4554-9DE0-7332E8C9B954}" type="pres">
      <dgm:prSet presAssocID="{D178D1ED-439A-4F57-999B-405EBC668ADF}" presName="negativeSpace" presStyleCnt="0"/>
      <dgm:spPr/>
    </dgm:pt>
    <dgm:pt modelId="{339A0E4C-29D3-4BC7-A01E-163F007996DE}" type="pres">
      <dgm:prSet presAssocID="{D178D1ED-439A-4F57-999B-405EBC668ADF}" presName="childText" presStyleLbl="conFgAcc1" presStyleIdx="0" presStyleCnt="5">
        <dgm:presLayoutVars>
          <dgm:bulletEnabled val="1"/>
        </dgm:presLayoutVars>
      </dgm:prSet>
      <dgm:spPr/>
    </dgm:pt>
    <dgm:pt modelId="{40968628-4523-4A1B-8B13-13119B72673B}" type="pres">
      <dgm:prSet presAssocID="{EB8B912A-565D-46CB-A68B-F9725371648F}" presName="spaceBetweenRectangles" presStyleCnt="0"/>
      <dgm:spPr/>
    </dgm:pt>
    <dgm:pt modelId="{727DBE8E-BA88-4E17-8E82-540D8309547E}" type="pres">
      <dgm:prSet presAssocID="{2CC31358-0154-4CB9-AFE8-421A1AA5337B}" presName="parentLin" presStyleCnt="0"/>
      <dgm:spPr/>
    </dgm:pt>
    <dgm:pt modelId="{05248074-7AF5-4759-ABA8-5C6CB0B47736}" type="pres">
      <dgm:prSet presAssocID="{2CC31358-0154-4CB9-AFE8-421A1AA5337B}" presName="parentLeftMargin" presStyleLbl="node1" presStyleIdx="0" presStyleCnt="5"/>
      <dgm:spPr/>
      <dgm:t>
        <a:bodyPr/>
        <a:lstStyle/>
        <a:p>
          <a:endParaRPr lang="de-DE"/>
        </a:p>
      </dgm:t>
    </dgm:pt>
    <dgm:pt modelId="{CA6E5082-9D96-4FF2-BEC5-AB32D5DDAAFB}" type="pres">
      <dgm:prSet presAssocID="{2CC31358-0154-4CB9-AFE8-421A1AA5337B}" presName="parentText" presStyleLbl="node1" presStyleIdx="1" presStyleCnt="5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B7E800E-5306-47C3-81AF-1AAAA548A968}" type="pres">
      <dgm:prSet presAssocID="{2CC31358-0154-4CB9-AFE8-421A1AA5337B}" presName="negativeSpace" presStyleCnt="0"/>
      <dgm:spPr/>
    </dgm:pt>
    <dgm:pt modelId="{6BA1D39F-2264-4F32-9463-DFCC4404B0FA}" type="pres">
      <dgm:prSet presAssocID="{2CC31358-0154-4CB9-AFE8-421A1AA5337B}" presName="childText" presStyleLbl="conFgAcc1" presStyleIdx="1" presStyleCnt="5">
        <dgm:presLayoutVars>
          <dgm:bulletEnabled val="1"/>
        </dgm:presLayoutVars>
      </dgm:prSet>
      <dgm:spPr/>
    </dgm:pt>
    <dgm:pt modelId="{E6D05DD9-493F-4E25-9DE5-978B3CE278BC}" type="pres">
      <dgm:prSet presAssocID="{FD1644EA-6B5A-49B3-BECB-D5BB263E8D13}" presName="spaceBetweenRectangles" presStyleCnt="0"/>
      <dgm:spPr/>
    </dgm:pt>
    <dgm:pt modelId="{63048669-DABE-4605-8721-37CAA275C921}" type="pres">
      <dgm:prSet presAssocID="{0DAF5E4B-E9FE-4792-8476-6F4C49666CA5}" presName="parentLin" presStyleCnt="0"/>
      <dgm:spPr/>
    </dgm:pt>
    <dgm:pt modelId="{F409D189-8BDE-412A-A876-7E2E46E79BCC}" type="pres">
      <dgm:prSet presAssocID="{0DAF5E4B-E9FE-4792-8476-6F4C49666CA5}" presName="parentLeftMargin" presStyleLbl="node1" presStyleIdx="1" presStyleCnt="5"/>
      <dgm:spPr/>
      <dgm:t>
        <a:bodyPr/>
        <a:lstStyle/>
        <a:p>
          <a:endParaRPr lang="de-DE"/>
        </a:p>
      </dgm:t>
    </dgm:pt>
    <dgm:pt modelId="{A3ACEE2C-ED3C-4753-BBA4-9B5C1D934F3D}" type="pres">
      <dgm:prSet presAssocID="{0DAF5E4B-E9FE-4792-8476-6F4C49666CA5}" presName="parentText" presStyleLbl="node1" presStyleIdx="2" presStyleCnt="5" custScaleX="13571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A2149D0-7DAE-4F69-9237-4E900A83552E}" type="pres">
      <dgm:prSet presAssocID="{0DAF5E4B-E9FE-4792-8476-6F4C49666CA5}" presName="negativeSpace" presStyleCnt="0"/>
      <dgm:spPr/>
    </dgm:pt>
    <dgm:pt modelId="{A5341C7F-0E08-4EA8-B21C-B80CFBBEA632}" type="pres">
      <dgm:prSet presAssocID="{0DAF5E4B-E9FE-4792-8476-6F4C49666CA5}" presName="childText" presStyleLbl="conFgAcc1" presStyleIdx="2" presStyleCnt="5">
        <dgm:presLayoutVars>
          <dgm:bulletEnabled val="1"/>
        </dgm:presLayoutVars>
      </dgm:prSet>
      <dgm:spPr/>
    </dgm:pt>
    <dgm:pt modelId="{D5A06011-1357-46A8-987B-C8CB0513E724}" type="pres">
      <dgm:prSet presAssocID="{8139BEAF-FC37-4F54-B2D8-913D6DEA6345}" presName="spaceBetweenRectangles" presStyleCnt="0"/>
      <dgm:spPr/>
    </dgm:pt>
    <dgm:pt modelId="{19D6DCD0-5B18-4B15-BDBE-6DCF96A8E463}" type="pres">
      <dgm:prSet presAssocID="{779BF5D9-5280-4B9A-A08D-5227C5598032}" presName="parentLin" presStyleCnt="0"/>
      <dgm:spPr/>
    </dgm:pt>
    <dgm:pt modelId="{FF7FBDEB-ABF9-4581-A97E-B4F4FBC74BF1}" type="pres">
      <dgm:prSet presAssocID="{779BF5D9-5280-4B9A-A08D-5227C5598032}" presName="parentLeftMargin" presStyleLbl="node1" presStyleIdx="2" presStyleCnt="5"/>
      <dgm:spPr/>
      <dgm:t>
        <a:bodyPr/>
        <a:lstStyle/>
        <a:p>
          <a:endParaRPr lang="de-DE"/>
        </a:p>
      </dgm:t>
    </dgm:pt>
    <dgm:pt modelId="{0CCD1CAE-711F-4688-BD1F-83F7A11890F9}" type="pres">
      <dgm:prSet presAssocID="{779BF5D9-5280-4B9A-A08D-5227C5598032}" presName="parentText" presStyleLbl="node1" presStyleIdx="3" presStyleCnt="5" custScaleX="13631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8E7C967A-3F15-4FDE-B047-765DD90633D8}" type="pres">
      <dgm:prSet presAssocID="{779BF5D9-5280-4B9A-A08D-5227C5598032}" presName="negativeSpace" presStyleCnt="0"/>
      <dgm:spPr/>
    </dgm:pt>
    <dgm:pt modelId="{032ECB30-1A5C-4D05-AF38-E1F95ACB34BD}" type="pres">
      <dgm:prSet presAssocID="{779BF5D9-5280-4B9A-A08D-5227C5598032}" presName="childText" presStyleLbl="conFgAcc1" presStyleIdx="3" presStyleCnt="5">
        <dgm:presLayoutVars>
          <dgm:bulletEnabled val="1"/>
        </dgm:presLayoutVars>
      </dgm:prSet>
      <dgm:spPr/>
    </dgm:pt>
    <dgm:pt modelId="{D3801294-20DA-4497-A9AF-EED4998263D2}" type="pres">
      <dgm:prSet presAssocID="{80586D15-A472-4470-AE7B-2B2C3598CFC9}" presName="spaceBetweenRectangles" presStyleCnt="0"/>
      <dgm:spPr/>
    </dgm:pt>
    <dgm:pt modelId="{A441CF50-4B06-4DFA-A9D2-72C4E17F06C6}" type="pres">
      <dgm:prSet presAssocID="{1C526AEA-0F04-407C-991F-0C1DE1A3C5A2}" presName="parentLin" presStyleCnt="0"/>
      <dgm:spPr/>
    </dgm:pt>
    <dgm:pt modelId="{8D8FC3D2-83A3-4308-B7B4-53880883EF94}" type="pres">
      <dgm:prSet presAssocID="{1C526AEA-0F04-407C-991F-0C1DE1A3C5A2}" presName="parentLeftMargin" presStyleLbl="node1" presStyleIdx="3" presStyleCnt="5"/>
      <dgm:spPr/>
      <dgm:t>
        <a:bodyPr/>
        <a:lstStyle/>
        <a:p>
          <a:endParaRPr lang="de-DE"/>
        </a:p>
      </dgm:t>
    </dgm:pt>
    <dgm:pt modelId="{4E2F2E1D-1179-439B-8947-0F86CF420F36}" type="pres">
      <dgm:prSet presAssocID="{1C526AEA-0F04-407C-991F-0C1DE1A3C5A2}" presName="parentText" presStyleLbl="node1" presStyleIdx="4" presStyleCnt="5" custScaleX="138690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A2DBA117-C199-4178-BC72-31193C959AA1}" type="pres">
      <dgm:prSet presAssocID="{1C526AEA-0F04-407C-991F-0C1DE1A3C5A2}" presName="negativeSpace" presStyleCnt="0"/>
      <dgm:spPr/>
    </dgm:pt>
    <dgm:pt modelId="{A455C8B1-D3A1-4FD4-B0D7-D76FD705EBA0}" type="pres">
      <dgm:prSet presAssocID="{1C526AEA-0F04-407C-991F-0C1DE1A3C5A2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86B0953D-BAF5-4616-A422-95CC7E713E5B}" type="presOf" srcId="{2CC31358-0154-4CB9-AFE8-421A1AA5337B}" destId="{CA6E5082-9D96-4FF2-BEC5-AB32D5DDAAFB}" srcOrd="1" destOrd="0" presId="urn:microsoft.com/office/officeart/2005/8/layout/list1"/>
    <dgm:cxn modelId="{93DFE2BC-251F-4079-B5B7-944C0DC0F251}" type="presOf" srcId="{779BF5D9-5280-4B9A-A08D-5227C5598032}" destId="{FF7FBDEB-ABF9-4581-A97E-B4F4FBC74BF1}" srcOrd="0" destOrd="0" presId="urn:microsoft.com/office/officeart/2005/8/layout/list1"/>
    <dgm:cxn modelId="{770CF927-8E8D-48F0-97FC-97B41F039B68}" srcId="{DF7F1314-FF45-43D3-9FF3-D9648849DFBF}" destId="{0DAF5E4B-E9FE-4792-8476-6F4C49666CA5}" srcOrd="2" destOrd="0" parTransId="{01DC2478-3CD3-417B-BE82-844117F2B60D}" sibTransId="{8139BEAF-FC37-4F54-B2D8-913D6DEA6345}"/>
    <dgm:cxn modelId="{FBD75F22-13D1-4C82-97C0-F20C6782A8EB}" type="presOf" srcId="{D178D1ED-439A-4F57-999B-405EBC668ADF}" destId="{EC971A39-59A2-4FF1-8EBF-B8E296D62C38}" srcOrd="1" destOrd="0" presId="urn:microsoft.com/office/officeart/2005/8/layout/list1"/>
    <dgm:cxn modelId="{2C6CB0DD-2BAB-4EA1-A266-D8A2133734FB}" type="presOf" srcId="{0DAF5E4B-E9FE-4792-8476-6F4C49666CA5}" destId="{A3ACEE2C-ED3C-4753-BBA4-9B5C1D934F3D}" srcOrd="1" destOrd="0" presId="urn:microsoft.com/office/officeart/2005/8/layout/list1"/>
    <dgm:cxn modelId="{53065B4E-70F4-4940-9821-5258DEA4AA13}" srcId="{DF7F1314-FF45-43D3-9FF3-D9648849DFBF}" destId="{D178D1ED-439A-4F57-999B-405EBC668ADF}" srcOrd="0" destOrd="0" parTransId="{46DB9979-EDEB-4786-953B-B296C9BCE3CB}" sibTransId="{EB8B912A-565D-46CB-A68B-F9725371648F}"/>
    <dgm:cxn modelId="{5F12BFEE-52DD-4E6F-9C30-FE27A547699E}" type="presOf" srcId="{2CC31358-0154-4CB9-AFE8-421A1AA5337B}" destId="{05248074-7AF5-4759-ABA8-5C6CB0B47736}" srcOrd="0" destOrd="0" presId="urn:microsoft.com/office/officeart/2005/8/layout/list1"/>
    <dgm:cxn modelId="{9B64CBC9-CD89-4694-9A50-FFC927263902}" srcId="{DF7F1314-FF45-43D3-9FF3-D9648849DFBF}" destId="{779BF5D9-5280-4B9A-A08D-5227C5598032}" srcOrd="3" destOrd="0" parTransId="{F33C4A67-085E-428D-AD46-D5E3F00BAAE8}" sibTransId="{80586D15-A472-4470-AE7B-2B2C3598CFC9}"/>
    <dgm:cxn modelId="{45FF6B35-167F-4366-B6A8-818421A27DC2}" type="presOf" srcId="{1C526AEA-0F04-407C-991F-0C1DE1A3C5A2}" destId="{8D8FC3D2-83A3-4308-B7B4-53880883EF94}" srcOrd="0" destOrd="0" presId="urn:microsoft.com/office/officeart/2005/8/layout/list1"/>
    <dgm:cxn modelId="{FF3D0BDF-E844-44D6-A0DE-2E3D4BE7DA77}" type="presOf" srcId="{779BF5D9-5280-4B9A-A08D-5227C5598032}" destId="{0CCD1CAE-711F-4688-BD1F-83F7A11890F9}" srcOrd="1" destOrd="0" presId="urn:microsoft.com/office/officeart/2005/8/layout/list1"/>
    <dgm:cxn modelId="{A390E0D0-9C98-4F23-AFFE-C6946DCF2A03}" srcId="{DF7F1314-FF45-43D3-9FF3-D9648849DFBF}" destId="{1C526AEA-0F04-407C-991F-0C1DE1A3C5A2}" srcOrd="4" destOrd="0" parTransId="{235D5F36-4C38-48D3-A9F7-4AEE1BEF45E2}" sibTransId="{F8AF60DA-B9E3-407A-B88E-4CD8ACF2A02C}"/>
    <dgm:cxn modelId="{FFD7DD2B-8575-4B98-830E-3C80D599636B}" type="presOf" srcId="{0DAF5E4B-E9FE-4792-8476-6F4C49666CA5}" destId="{F409D189-8BDE-412A-A876-7E2E46E79BCC}" srcOrd="0" destOrd="0" presId="urn:microsoft.com/office/officeart/2005/8/layout/list1"/>
    <dgm:cxn modelId="{F46DB826-BC19-4F1E-A3D7-95CC0492579D}" type="presOf" srcId="{1C526AEA-0F04-407C-991F-0C1DE1A3C5A2}" destId="{4E2F2E1D-1179-439B-8947-0F86CF420F36}" srcOrd="1" destOrd="0" presId="urn:microsoft.com/office/officeart/2005/8/layout/list1"/>
    <dgm:cxn modelId="{2AA1A7BD-BF17-40BB-8147-E0C80B15F66F}" type="presOf" srcId="{DF7F1314-FF45-43D3-9FF3-D9648849DFBF}" destId="{AA82D9E3-FF81-4175-97E3-1A23D5FCFE9D}" srcOrd="0" destOrd="0" presId="urn:microsoft.com/office/officeart/2005/8/layout/list1"/>
    <dgm:cxn modelId="{E9B4BB35-F933-4998-9EF0-204D0C137673}" type="presOf" srcId="{D178D1ED-439A-4F57-999B-405EBC668ADF}" destId="{158138F8-03B3-41E4-ADB9-2F18AAE6CD53}" srcOrd="0" destOrd="0" presId="urn:microsoft.com/office/officeart/2005/8/layout/list1"/>
    <dgm:cxn modelId="{38D8C6E1-6094-4432-8058-640CD3AD5B3A}" srcId="{DF7F1314-FF45-43D3-9FF3-D9648849DFBF}" destId="{2CC31358-0154-4CB9-AFE8-421A1AA5337B}" srcOrd="1" destOrd="0" parTransId="{8B30BD2D-E19A-4F87-A019-284052B49037}" sibTransId="{FD1644EA-6B5A-49B3-BECB-D5BB263E8D13}"/>
    <dgm:cxn modelId="{FEDF88CD-503C-4EFB-A8C0-C51EA6BE6311}" type="presParOf" srcId="{AA82D9E3-FF81-4175-97E3-1A23D5FCFE9D}" destId="{A4F6E008-38BF-4EFA-8ABD-FCA80D5D6605}" srcOrd="0" destOrd="0" presId="urn:microsoft.com/office/officeart/2005/8/layout/list1"/>
    <dgm:cxn modelId="{BB6EABEC-9576-4251-BC1F-F041685367EF}" type="presParOf" srcId="{A4F6E008-38BF-4EFA-8ABD-FCA80D5D6605}" destId="{158138F8-03B3-41E4-ADB9-2F18AAE6CD53}" srcOrd="0" destOrd="0" presId="urn:microsoft.com/office/officeart/2005/8/layout/list1"/>
    <dgm:cxn modelId="{5851F06F-9AD6-4148-9148-80C3535CD1BA}" type="presParOf" srcId="{A4F6E008-38BF-4EFA-8ABD-FCA80D5D6605}" destId="{EC971A39-59A2-4FF1-8EBF-B8E296D62C38}" srcOrd="1" destOrd="0" presId="urn:microsoft.com/office/officeart/2005/8/layout/list1"/>
    <dgm:cxn modelId="{68B3F0AF-DD15-4E8B-98E6-CF84C3FD7930}" type="presParOf" srcId="{AA82D9E3-FF81-4175-97E3-1A23D5FCFE9D}" destId="{4BD9798F-19FB-4554-9DE0-7332E8C9B954}" srcOrd="1" destOrd="0" presId="urn:microsoft.com/office/officeart/2005/8/layout/list1"/>
    <dgm:cxn modelId="{5AFCC683-3651-477C-A738-18DF8811978F}" type="presParOf" srcId="{AA82D9E3-FF81-4175-97E3-1A23D5FCFE9D}" destId="{339A0E4C-29D3-4BC7-A01E-163F007996DE}" srcOrd="2" destOrd="0" presId="urn:microsoft.com/office/officeart/2005/8/layout/list1"/>
    <dgm:cxn modelId="{81944F24-3BC6-4183-BE73-C31F5F5C2442}" type="presParOf" srcId="{AA82D9E3-FF81-4175-97E3-1A23D5FCFE9D}" destId="{40968628-4523-4A1B-8B13-13119B72673B}" srcOrd="3" destOrd="0" presId="urn:microsoft.com/office/officeart/2005/8/layout/list1"/>
    <dgm:cxn modelId="{DF9ABE43-FFC6-4123-A966-914B14F60437}" type="presParOf" srcId="{AA82D9E3-FF81-4175-97E3-1A23D5FCFE9D}" destId="{727DBE8E-BA88-4E17-8E82-540D8309547E}" srcOrd="4" destOrd="0" presId="urn:microsoft.com/office/officeart/2005/8/layout/list1"/>
    <dgm:cxn modelId="{E1D0E263-23A3-408B-AD0D-F95816B8F253}" type="presParOf" srcId="{727DBE8E-BA88-4E17-8E82-540D8309547E}" destId="{05248074-7AF5-4759-ABA8-5C6CB0B47736}" srcOrd="0" destOrd="0" presId="urn:microsoft.com/office/officeart/2005/8/layout/list1"/>
    <dgm:cxn modelId="{0515D1C3-3DAE-44F4-81EC-0FC433D4A72E}" type="presParOf" srcId="{727DBE8E-BA88-4E17-8E82-540D8309547E}" destId="{CA6E5082-9D96-4FF2-BEC5-AB32D5DDAAFB}" srcOrd="1" destOrd="0" presId="urn:microsoft.com/office/officeart/2005/8/layout/list1"/>
    <dgm:cxn modelId="{D02CE9DE-2C70-4742-B0A5-C5F7C9A063D0}" type="presParOf" srcId="{AA82D9E3-FF81-4175-97E3-1A23D5FCFE9D}" destId="{DB7E800E-5306-47C3-81AF-1AAAA548A968}" srcOrd="5" destOrd="0" presId="urn:microsoft.com/office/officeart/2005/8/layout/list1"/>
    <dgm:cxn modelId="{725A1D43-7C5A-443C-8966-45C2F02AC99A}" type="presParOf" srcId="{AA82D9E3-FF81-4175-97E3-1A23D5FCFE9D}" destId="{6BA1D39F-2264-4F32-9463-DFCC4404B0FA}" srcOrd="6" destOrd="0" presId="urn:microsoft.com/office/officeart/2005/8/layout/list1"/>
    <dgm:cxn modelId="{8C35AE64-BB75-4451-A776-76A1B988EF40}" type="presParOf" srcId="{AA82D9E3-FF81-4175-97E3-1A23D5FCFE9D}" destId="{E6D05DD9-493F-4E25-9DE5-978B3CE278BC}" srcOrd="7" destOrd="0" presId="urn:microsoft.com/office/officeart/2005/8/layout/list1"/>
    <dgm:cxn modelId="{3252B52F-FD37-4DF7-8E24-81E411BA4AB1}" type="presParOf" srcId="{AA82D9E3-FF81-4175-97E3-1A23D5FCFE9D}" destId="{63048669-DABE-4605-8721-37CAA275C921}" srcOrd="8" destOrd="0" presId="urn:microsoft.com/office/officeart/2005/8/layout/list1"/>
    <dgm:cxn modelId="{E7826919-5214-46A6-BB21-E3083BF9A018}" type="presParOf" srcId="{63048669-DABE-4605-8721-37CAA275C921}" destId="{F409D189-8BDE-412A-A876-7E2E46E79BCC}" srcOrd="0" destOrd="0" presId="urn:microsoft.com/office/officeart/2005/8/layout/list1"/>
    <dgm:cxn modelId="{80097806-BF8A-45A2-9C88-07C562F902FA}" type="presParOf" srcId="{63048669-DABE-4605-8721-37CAA275C921}" destId="{A3ACEE2C-ED3C-4753-BBA4-9B5C1D934F3D}" srcOrd="1" destOrd="0" presId="urn:microsoft.com/office/officeart/2005/8/layout/list1"/>
    <dgm:cxn modelId="{11A25181-D289-4F1C-A5A4-A2A34D7ED3BE}" type="presParOf" srcId="{AA82D9E3-FF81-4175-97E3-1A23D5FCFE9D}" destId="{2A2149D0-7DAE-4F69-9237-4E900A83552E}" srcOrd="9" destOrd="0" presId="urn:microsoft.com/office/officeart/2005/8/layout/list1"/>
    <dgm:cxn modelId="{41F2C108-D82A-42CE-8BCB-20D82172570B}" type="presParOf" srcId="{AA82D9E3-FF81-4175-97E3-1A23D5FCFE9D}" destId="{A5341C7F-0E08-4EA8-B21C-B80CFBBEA632}" srcOrd="10" destOrd="0" presId="urn:microsoft.com/office/officeart/2005/8/layout/list1"/>
    <dgm:cxn modelId="{6FD966FC-9121-4C6D-9624-B2949BE3E32D}" type="presParOf" srcId="{AA82D9E3-FF81-4175-97E3-1A23D5FCFE9D}" destId="{D5A06011-1357-46A8-987B-C8CB0513E724}" srcOrd="11" destOrd="0" presId="urn:microsoft.com/office/officeart/2005/8/layout/list1"/>
    <dgm:cxn modelId="{DE6F1983-E4EF-4AE7-B990-7BBA2EFB3ABF}" type="presParOf" srcId="{AA82D9E3-FF81-4175-97E3-1A23D5FCFE9D}" destId="{19D6DCD0-5B18-4B15-BDBE-6DCF96A8E463}" srcOrd="12" destOrd="0" presId="urn:microsoft.com/office/officeart/2005/8/layout/list1"/>
    <dgm:cxn modelId="{23C3F3FC-EB81-4B6F-9940-2AABA7E4AA14}" type="presParOf" srcId="{19D6DCD0-5B18-4B15-BDBE-6DCF96A8E463}" destId="{FF7FBDEB-ABF9-4581-A97E-B4F4FBC74BF1}" srcOrd="0" destOrd="0" presId="urn:microsoft.com/office/officeart/2005/8/layout/list1"/>
    <dgm:cxn modelId="{CA69ECEC-4E3B-4DCD-A99E-0C76886FD483}" type="presParOf" srcId="{19D6DCD0-5B18-4B15-BDBE-6DCF96A8E463}" destId="{0CCD1CAE-711F-4688-BD1F-83F7A11890F9}" srcOrd="1" destOrd="0" presId="urn:microsoft.com/office/officeart/2005/8/layout/list1"/>
    <dgm:cxn modelId="{DD6D8207-1FC7-4648-9C8C-B7AC00252BFF}" type="presParOf" srcId="{AA82D9E3-FF81-4175-97E3-1A23D5FCFE9D}" destId="{8E7C967A-3F15-4FDE-B047-765DD90633D8}" srcOrd="13" destOrd="0" presId="urn:microsoft.com/office/officeart/2005/8/layout/list1"/>
    <dgm:cxn modelId="{343A4DD2-E647-4E88-9E9E-BC89AEB7C0B3}" type="presParOf" srcId="{AA82D9E3-FF81-4175-97E3-1A23D5FCFE9D}" destId="{032ECB30-1A5C-4D05-AF38-E1F95ACB34BD}" srcOrd="14" destOrd="0" presId="urn:microsoft.com/office/officeart/2005/8/layout/list1"/>
    <dgm:cxn modelId="{7329CE79-8CB2-472C-A05C-12B6E1CB1636}" type="presParOf" srcId="{AA82D9E3-FF81-4175-97E3-1A23D5FCFE9D}" destId="{D3801294-20DA-4497-A9AF-EED4998263D2}" srcOrd="15" destOrd="0" presId="urn:microsoft.com/office/officeart/2005/8/layout/list1"/>
    <dgm:cxn modelId="{32C95600-C40F-4392-A4DA-EBB53A959A1A}" type="presParOf" srcId="{AA82D9E3-FF81-4175-97E3-1A23D5FCFE9D}" destId="{A441CF50-4B06-4DFA-A9D2-72C4E17F06C6}" srcOrd="16" destOrd="0" presId="urn:microsoft.com/office/officeart/2005/8/layout/list1"/>
    <dgm:cxn modelId="{1638A1FD-B9B7-4FD3-A998-3C36E84A1C80}" type="presParOf" srcId="{A441CF50-4B06-4DFA-A9D2-72C4E17F06C6}" destId="{8D8FC3D2-83A3-4308-B7B4-53880883EF94}" srcOrd="0" destOrd="0" presId="urn:microsoft.com/office/officeart/2005/8/layout/list1"/>
    <dgm:cxn modelId="{99461AC4-315A-49E9-8AA5-6570B0CFEAE5}" type="presParOf" srcId="{A441CF50-4B06-4DFA-A9D2-72C4E17F06C6}" destId="{4E2F2E1D-1179-439B-8947-0F86CF420F36}" srcOrd="1" destOrd="0" presId="urn:microsoft.com/office/officeart/2005/8/layout/list1"/>
    <dgm:cxn modelId="{5C67E719-79E4-44F1-9BB0-DDF55918019F}" type="presParOf" srcId="{AA82D9E3-FF81-4175-97E3-1A23D5FCFE9D}" destId="{A2DBA117-C199-4178-BC72-31193C959AA1}" srcOrd="17" destOrd="0" presId="urn:microsoft.com/office/officeart/2005/8/layout/list1"/>
    <dgm:cxn modelId="{1D841516-F181-49F8-9B8E-FC323B4C3AC6}" type="presParOf" srcId="{AA82D9E3-FF81-4175-97E3-1A23D5FCFE9D}" destId="{A455C8B1-D3A1-4FD4-B0D7-D76FD705EBA0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F7F1314-FF45-43D3-9FF3-D9648849DFB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D178D1ED-439A-4F57-999B-405EBC668ADF}">
      <dgm:prSet phldrT="[Text]" custT="1"/>
      <dgm:spPr>
        <a:solidFill>
          <a:srgbClr val="264D7F"/>
        </a:solidFill>
      </dgm:spPr>
      <dgm:t>
        <a:bodyPr/>
        <a:lstStyle/>
        <a:p>
          <a:r>
            <a:rPr lang="de-DE" sz="1400" dirty="0" smtClean="0">
              <a:latin typeface="Atkinson Hyperlegible" pitchFamily="2" charset="0"/>
            </a:rPr>
            <a:t>Anmeldung mit ByCS-Kennung und Passwort</a:t>
          </a:r>
          <a:endParaRPr lang="de-DE" sz="1400" dirty="0">
            <a:latin typeface="Atkinson Hyperlegible" pitchFamily="2" charset="0"/>
          </a:endParaRPr>
        </a:p>
      </dgm:t>
    </dgm:pt>
    <dgm:pt modelId="{46DB9979-EDEB-4786-953B-B296C9BCE3CB}" type="parTrans" cxnId="{53065B4E-70F4-4940-9821-5258DEA4AA13}">
      <dgm:prSet/>
      <dgm:spPr/>
      <dgm:t>
        <a:bodyPr/>
        <a:lstStyle/>
        <a:p>
          <a:endParaRPr lang="de-DE"/>
        </a:p>
      </dgm:t>
    </dgm:pt>
    <dgm:pt modelId="{EB8B912A-565D-46CB-A68B-F9725371648F}" type="sibTrans" cxnId="{53065B4E-70F4-4940-9821-5258DEA4AA13}">
      <dgm:prSet/>
      <dgm:spPr/>
      <dgm:t>
        <a:bodyPr/>
        <a:lstStyle/>
        <a:p>
          <a:endParaRPr lang="de-DE"/>
        </a:p>
      </dgm:t>
    </dgm:pt>
    <dgm:pt modelId="{2CC31358-0154-4CB9-AFE8-421A1AA5337B}">
      <dgm:prSet phldrT="[Text]" custT="1"/>
      <dgm:spPr>
        <a:solidFill>
          <a:srgbClr val="264D7F"/>
        </a:solidFill>
      </dgm:spPr>
      <dgm:t>
        <a:bodyPr/>
        <a:lstStyle/>
        <a:p>
          <a:r>
            <a:rPr lang="de-DE" sz="1400" dirty="0" smtClean="0">
              <a:latin typeface="Atkinson Hyperlegible" pitchFamily="2" charset="0"/>
            </a:rPr>
            <a:t>Aufrufen einer MFA-gesicherten Anwendung</a:t>
          </a:r>
          <a:endParaRPr lang="de-DE" sz="1400" dirty="0">
            <a:latin typeface="Atkinson Hyperlegible" pitchFamily="2" charset="0"/>
          </a:endParaRPr>
        </a:p>
      </dgm:t>
    </dgm:pt>
    <dgm:pt modelId="{8B30BD2D-E19A-4F87-A019-284052B49037}" type="parTrans" cxnId="{38D8C6E1-6094-4432-8058-640CD3AD5B3A}">
      <dgm:prSet/>
      <dgm:spPr/>
      <dgm:t>
        <a:bodyPr/>
        <a:lstStyle/>
        <a:p>
          <a:endParaRPr lang="de-DE"/>
        </a:p>
      </dgm:t>
    </dgm:pt>
    <dgm:pt modelId="{FD1644EA-6B5A-49B3-BECB-D5BB263E8D13}" type="sibTrans" cxnId="{38D8C6E1-6094-4432-8058-640CD3AD5B3A}">
      <dgm:prSet/>
      <dgm:spPr/>
      <dgm:t>
        <a:bodyPr/>
        <a:lstStyle/>
        <a:p>
          <a:endParaRPr lang="de-DE"/>
        </a:p>
      </dgm:t>
    </dgm:pt>
    <dgm:pt modelId="{0DAF5E4B-E9FE-4792-8476-6F4C49666CA5}">
      <dgm:prSet phldrT="[Text]" custT="1"/>
      <dgm:spPr>
        <a:solidFill>
          <a:srgbClr val="EF7430"/>
        </a:solidFill>
      </dgm:spPr>
      <dgm:t>
        <a:bodyPr/>
        <a:lstStyle/>
        <a:p>
          <a:r>
            <a:rPr lang="de-DE" sz="1400" dirty="0" smtClean="0">
              <a:latin typeface="Atkinson Hyperlegible" pitchFamily="2" charset="0"/>
            </a:rPr>
            <a:t>6-stelligen </a:t>
          </a:r>
          <a:r>
            <a:rPr lang="de-DE" sz="1400" smtClean="0">
              <a:latin typeface="Atkinson Hyperlegible" pitchFamily="2" charset="0"/>
            </a:rPr>
            <a:t>Authentifizierungscode übertragen</a:t>
          </a:r>
          <a:endParaRPr lang="de-DE" sz="1400" dirty="0">
            <a:latin typeface="Atkinson Hyperlegible" pitchFamily="2" charset="0"/>
          </a:endParaRPr>
        </a:p>
      </dgm:t>
    </dgm:pt>
    <dgm:pt modelId="{01DC2478-3CD3-417B-BE82-844117F2B60D}" type="parTrans" cxnId="{770CF927-8E8D-48F0-97FC-97B41F039B68}">
      <dgm:prSet/>
      <dgm:spPr/>
      <dgm:t>
        <a:bodyPr/>
        <a:lstStyle/>
        <a:p>
          <a:endParaRPr lang="de-DE"/>
        </a:p>
      </dgm:t>
    </dgm:pt>
    <dgm:pt modelId="{8139BEAF-FC37-4F54-B2D8-913D6DEA6345}" type="sibTrans" cxnId="{770CF927-8E8D-48F0-97FC-97B41F039B68}">
      <dgm:prSet/>
      <dgm:spPr/>
      <dgm:t>
        <a:bodyPr/>
        <a:lstStyle/>
        <a:p>
          <a:endParaRPr lang="de-DE"/>
        </a:p>
      </dgm:t>
    </dgm:pt>
    <dgm:pt modelId="{AA82D9E3-FF81-4175-97E3-1A23D5FCFE9D}" type="pres">
      <dgm:prSet presAssocID="{DF7F1314-FF45-43D3-9FF3-D9648849DFB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A4F6E008-38BF-4EFA-8ABD-FCA80D5D6605}" type="pres">
      <dgm:prSet presAssocID="{D178D1ED-439A-4F57-999B-405EBC668ADF}" presName="parentLin" presStyleCnt="0"/>
      <dgm:spPr/>
    </dgm:pt>
    <dgm:pt modelId="{158138F8-03B3-41E4-ADB9-2F18AAE6CD53}" type="pres">
      <dgm:prSet presAssocID="{D178D1ED-439A-4F57-999B-405EBC668ADF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EC971A39-59A2-4FF1-8EBF-B8E296D62C38}" type="pres">
      <dgm:prSet presAssocID="{D178D1ED-439A-4F57-999B-405EBC668ADF}" presName="parentText" presStyleLbl="node1" presStyleIdx="0" presStyleCnt="3" custScaleX="138691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BD9798F-19FB-4554-9DE0-7332E8C9B954}" type="pres">
      <dgm:prSet presAssocID="{D178D1ED-439A-4F57-999B-405EBC668ADF}" presName="negativeSpace" presStyleCnt="0"/>
      <dgm:spPr/>
    </dgm:pt>
    <dgm:pt modelId="{339A0E4C-29D3-4BC7-A01E-163F007996DE}" type="pres">
      <dgm:prSet presAssocID="{D178D1ED-439A-4F57-999B-405EBC668ADF}" presName="childText" presStyleLbl="conFgAcc1" presStyleIdx="0" presStyleCnt="3">
        <dgm:presLayoutVars>
          <dgm:bulletEnabled val="1"/>
        </dgm:presLayoutVars>
      </dgm:prSet>
      <dgm:spPr/>
    </dgm:pt>
    <dgm:pt modelId="{40968628-4523-4A1B-8B13-13119B72673B}" type="pres">
      <dgm:prSet presAssocID="{EB8B912A-565D-46CB-A68B-F9725371648F}" presName="spaceBetweenRectangles" presStyleCnt="0"/>
      <dgm:spPr/>
    </dgm:pt>
    <dgm:pt modelId="{727DBE8E-BA88-4E17-8E82-540D8309547E}" type="pres">
      <dgm:prSet presAssocID="{2CC31358-0154-4CB9-AFE8-421A1AA5337B}" presName="parentLin" presStyleCnt="0"/>
      <dgm:spPr/>
    </dgm:pt>
    <dgm:pt modelId="{05248074-7AF5-4759-ABA8-5C6CB0B47736}" type="pres">
      <dgm:prSet presAssocID="{2CC31358-0154-4CB9-AFE8-421A1AA5337B}" presName="parentLeftMargin" presStyleLbl="node1" presStyleIdx="0" presStyleCnt="3"/>
      <dgm:spPr/>
      <dgm:t>
        <a:bodyPr/>
        <a:lstStyle/>
        <a:p>
          <a:endParaRPr lang="de-DE"/>
        </a:p>
      </dgm:t>
    </dgm:pt>
    <dgm:pt modelId="{CA6E5082-9D96-4FF2-BEC5-AB32D5DDAAFB}" type="pres">
      <dgm:prSet presAssocID="{2CC31358-0154-4CB9-AFE8-421A1AA5337B}" presName="parentText" presStyleLbl="node1" presStyleIdx="1" presStyleCnt="3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B7E800E-5306-47C3-81AF-1AAAA548A968}" type="pres">
      <dgm:prSet presAssocID="{2CC31358-0154-4CB9-AFE8-421A1AA5337B}" presName="negativeSpace" presStyleCnt="0"/>
      <dgm:spPr/>
    </dgm:pt>
    <dgm:pt modelId="{6BA1D39F-2264-4F32-9463-DFCC4404B0FA}" type="pres">
      <dgm:prSet presAssocID="{2CC31358-0154-4CB9-AFE8-421A1AA5337B}" presName="childText" presStyleLbl="conFgAcc1" presStyleIdx="1" presStyleCnt="3">
        <dgm:presLayoutVars>
          <dgm:bulletEnabled val="1"/>
        </dgm:presLayoutVars>
      </dgm:prSet>
      <dgm:spPr/>
    </dgm:pt>
    <dgm:pt modelId="{E6D05DD9-493F-4E25-9DE5-978B3CE278BC}" type="pres">
      <dgm:prSet presAssocID="{FD1644EA-6B5A-49B3-BECB-D5BB263E8D13}" presName="spaceBetweenRectangles" presStyleCnt="0"/>
      <dgm:spPr/>
    </dgm:pt>
    <dgm:pt modelId="{63048669-DABE-4605-8721-37CAA275C921}" type="pres">
      <dgm:prSet presAssocID="{0DAF5E4B-E9FE-4792-8476-6F4C49666CA5}" presName="parentLin" presStyleCnt="0"/>
      <dgm:spPr/>
    </dgm:pt>
    <dgm:pt modelId="{F409D189-8BDE-412A-A876-7E2E46E79BCC}" type="pres">
      <dgm:prSet presAssocID="{0DAF5E4B-E9FE-4792-8476-6F4C49666CA5}" presName="parentLeftMargin" presStyleLbl="node1" presStyleIdx="1" presStyleCnt="3"/>
      <dgm:spPr/>
      <dgm:t>
        <a:bodyPr/>
        <a:lstStyle/>
        <a:p>
          <a:endParaRPr lang="de-DE"/>
        </a:p>
      </dgm:t>
    </dgm:pt>
    <dgm:pt modelId="{A3ACEE2C-ED3C-4753-BBA4-9B5C1D934F3D}" type="pres">
      <dgm:prSet presAssocID="{0DAF5E4B-E9FE-4792-8476-6F4C49666CA5}" presName="parentText" presStyleLbl="node1" presStyleIdx="2" presStyleCnt="3" custScaleX="13571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2A2149D0-7DAE-4F69-9237-4E900A83552E}" type="pres">
      <dgm:prSet presAssocID="{0DAF5E4B-E9FE-4792-8476-6F4C49666CA5}" presName="negativeSpace" presStyleCnt="0"/>
      <dgm:spPr/>
    </dgm:pt>
    <dgm:pt modelId="{A5341C7F-0E08-4EA8-B21C-B80CFBBEA632}" type="pres">
      <dgm:prSet presAssocID="{0DAF5E4B-E9FE-4792-8476-6F4C49666CA5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FFD7DD2B-8575-4B98-830E-3C80D599636B}" type="presOf" srcId="{0DAF5E4B-E9FE-4792-8476-6F4C49666CA5}" destId="{F409D189-8BDE-412A-A876-7E2E46E79BCC}" srcOrd="0" destOrd="0" presId="urn:microsoft.com/office/officeart/2005/8/layout/list1"/>
    <dgm:cxn modelId="{770CF927-8E8D-48F0-97FC-97B41F039B68}" srcId="{DF7F1314-FF45-43D3-9FF3-D9648849DFBF}" destId="{0DAF5E4B-E9FE-4792-8476-6F4C49666CA5}" srcOrd="2" destOrd="0" parTransId="{01DC2478-3CD3-417B-BE82-844117F2B60D}" sibTransId="{8139BEAF-FC37-4F54-B2D8-913D6DEA6345}"/>
    <dgm:cxn modelId="{5F12BFEE-52DD-4E6F-9C30-FE27A547699E}" type="presOf" srcId="{2CC31358-0154-4CB9-AFE8-421A1AA5337B}" destId="{05248074-7AF5-4759-ABA8-5C6CB0B47736}" srcOrd="0" destOrd="0" presId="urn:microsoft.com/office/officeart/2005/8/layout/list1"/>
    <dgm:cxn modelId="{FBD75F22-13D1-4C82-97C0-F20C6782A8EB}" type="presOf" srcId="{D178D1ED-439A-4F57-999B-405EBC668ADF}" destId="{EC971A39-59A2-4FF1-8EBF-B8E296D62C38}" srcOrd="1" destOrd="0" presId="urn:microsoft.com/office/officeart/2005/8/layout/list1"/>
    <dgm:cxn modelId="{53065B4E-70F4-4940-9821-5258DEA4AA13}" srcId="{DF7F1314-FF45-43D3-9FF3-D9648849DFBF}" destId="{D178D1ED-439A-4F57-999B-405EBC668ADF}" srcOrd="0" destOrd="0" parTransId="{46DB9979-EDEB-4786-953B-B296C9BCE3CB}" sibTransId="{EB8B912A-565D-46CB-A68B-F9725371648F}"/>
    <dgm:cxn modelId="{38D8C6E1-6094-4432-8058-640CD3AD5B3A}" srcId="{DF7F1314-FF45-43D3-9FF3-D9648849DFBF}" destId="{2CC31358-0154-4CB9-AFE8-421A1AA5337B}" srcOrd="1" destOrd="0" parTransId="{8B30BD2D-E19A-4F87-A019-284052B49037}" sibTransId="{FD1644EA-6B5A-49B3-BECB-D5BB263E8D13}"/>
    <dgm:cxn modelId="{2AA1A7BD-BF17-40BB-8147-E0C80B15F66F}" type="presOf" srcId="{DF7F1314-FF45-43D3-9FF3-D9648849DFBF}" destId="{AA82D9E3-FF81-4175-97E3-1A23D5FCFE9D}" srcOrd="0" destOrd="0" presId="urn:microsoft.com/office/officeart/2005/8/layout/list1"/>
    <dgm:cxn modelId="{2C6CB0DD-2BAB-4EA1-A266-D8A2133734FB}" type="presOf" srcId="{0DAF5E4B-E9FE-4792-8476-6F4C49666CA5}" destId="{A3ACEE2C-ED3C-4753-BBA4-9B5C1D934F3D}" srcOrd="1" destOrd="0" presId="urn:microsoft.com/office/officeart/2005/8/layout/list1"/>
    <dgm:cxn modelId="{86B0953D-BAF5-4616-A422-95CC7E713E5B}" type="presOf" srcId="{2CC31358-0154-4CB9-AFE8-421A1AA5337B}" destId="{CA6E5082-9D96-4FF2-BEC5-AB32D5DDAAFB}" srcOrd="1" destOrd="0" presId="urn:microsoft.com/office/officeart/2005/8/layout/list1"/>
    <dgm:cxn modelId="{E9B4BB35-F933-4998-9EF0-204D0C137673}" type="presOf" srcId="{D178D1ED-439A-4F57-999B-405EBC668ADF}" destId="{158138F8-03B3-41E4-ADB9-2F18AAE6CD53}" srcOrd="0" destOrd="0" presId="urn:microsoft.com/office/officeart/2005/8/layout/list1"/>
    <dgm:cxn modelId="{FEDF88CD-503C-4EFB-A8C0-C51EA6BE6311}" type="presParOf" srcId="{AA82D9E3-FF81-4175-97E3-1A23D5FCFE9D}" destId="{A4F6E008-38BF-4EFA-8ABD-FCA80D5D6605}" srcOrd="0" destOrd="0" presId="urn:microsoft.com/office/officeart/2005/8/layout/list1"/>
    <dgm:cxn modelId="{BB6EABEC-9576-4251-BC1F-F041685367EF}" type="presParOf" srcId="{A4F6E008-38BF-4EFA-8ABD-FCA80D5D6605}" destId="{158138F8-03B3-41E4-ADB9-2F18AAE6CD53}" srcOrd="0" destOrd="0" presId="urn:microsoft.com/office/officeart/2005/8/layout/list1"/>
    <dgm:cxn modelId="{5851F06F-9AD6-4148-9148-80C3535CD1BA}" type="presParOf" srcId="{A4F6E008-38BF-4EFA-8ABD-FCA80D5D6605}" destId="{EC971A39-59A2-4FF1-8EBF-B8E296D62C38}" srcOrd="1" destOrd="0" presId="urn:microsoft.com/office/officeart/2005/8/layout/list1"/>
    <dgm:cxn modelId="{68B3F0AF-DD15-4E8B-98E6-CF84C3FD7930}" type="presParOf" srcId="{AA82D9E3-FF81-4175-97E3-1A23D5FCFE9D}" destId="{4BD9798F-19FB-4554-9DE0-7332E8C9B954}" srcOrd="1" destOrd="0" presId="urn:microsoft.com/office/officeart/2005/8/layout/list1"/>
    <dgm:cxn modelId="{5AFCC683-3651-477C-A738-18DF8811978F}" type="presParOf" srcId="{AA82D9E3-FF81-4175-97E3-1A23D5FCFE9D}" destId="{339A0E4C-29D3-4BC7-A01E-163F007996DE}" srcOrd="2" destOrd="0" presId="urn:microsoft.com/office/officeart/2005/8/layout/list1"/>
    <dgm:cxn modelId="{81944F24-3BC6-4183-BE73-C31F5F5C2442}" type="presParOf" srcId="{AA82D9E3-FF81-4175-97E3-1A23D5FCFE9D}" destId="{40968628-4523-4A1B-8B13-13119B72673B}" srcOrd="3" destOrd="0" presId="urn:microsoft.com/office/officeart/2005/8/layout/list1"/>
    <dgm:cxn modelId="{DF9ABE43-FFC6-4123-A966-914B14F60437}" type="presParOf" srcId="{AA82D9E3-FF81-4175-97E3-1A23D5FCFE9D}" destId="{727DBE8E-BA88-4E17-8E82-540D8309547E}" srcOrd="4" destOrd="0" presId="urn:microsoft.com/office/officeart/2005/8/layout/list1"/>
    <dgm:cxn modelId="{E1D0E263-23A3-408B-AD0D-F95816B8F253}" type="presParOf" srcId="{727DBE8E-BA88-4E17-8E82-540D8309547E}" destId="{05248074-7AF5-4759-ABA8-5C6CB0B47736}" srcOrd="0" destOrd="0" presId="urn:microsoft.com/office/officeart/2005/8/layout/list1"/>
    <dgm:cxn modelId="{0515D1C3-3DAE-44F4-81EC-0FC433D4A72E}" type="presParOf" srcId="{727DBE8E-BA88-4E17-8E82-540D8309547E}" destId="{CA6E5082-9D96-4FF2-BEC5-AB32D5DDAAFB}" srcOrd="1" destOrd="0" presId="urn:microsoft.com/office/officeart/2005/8/layout/list1"/>
    <dgm:cxn modelId="{D02CE9DE-2C70-4742-B0A5-C5F7C9A063D0}" type="presParOf" srcId="{AA82D9E3-FF81-4175-97E3-1A23D5FCFE9D}" destId="{DB7E800E-5306-47C3-81AF-1AAAA548A968}" srcOrd="5" destOrd="0" presId="urn:microsoft.com/office/officeart/2005/8/layout/list1"/>
    <dgm:cxn modelId="{725A1D43-7C5A-443C-8966-45C2F02AC99A}" type="presParOf" srcId="{AA82D9E3-FF81-4175-97E3-1A23D5FCFE9D}" destId="{6BA1D39F-2264-4F32-9463-DFCC4404B0FA}" srcOrd="6" destOrd="0" presId="urn:microsoft.com/office/officeart/2005/8/layout/list1"/>
    <dgm:cxn modelId="{8C35AE64-BB75-4451-A776-76A1B988EF40}" type="presParOf" srcId="{AA82D9E3-FF81-4175-97E3-1A23D5FCFE9D}" destId="{E6D05DD9-493F-4E25-9DE5-978B3CE278BC}" srcOrd="7" destOrd="0" presId="urn:microsoft.com/office/officeart/2005/8/layout/list1"/>
    <dgm:cxn modelId="{3252B52F-FD37-4DF7-8E24-81E411BA4AB1}" type="presParOf" srcId="{AA82D9E3-FF81-4175-97E3-1A23D5FCFE9D}" destId="{63048669-DABE-4605-8721-37CAA275C921}" srcOrd="8" destOrd="0" presId="urn:microsoft.com/office/officeart/2005/8/layout/list1"/>
    <dgm:cxn modelId="{E7826919-5214-46A6-BB21-E3083BF9A018}" type="presParOf" srcId="{63048669-DABE-4605-8721-37CAA275C921}" destId="{F409D189-8BDE-412A-A876-7E2E46E79BCC}" srcOrd="0" destOrd="0" presId="urn:microsoft.com/office/officeart/2005/8/layout/list1"/>
    <dgm:cxn modelId="{80097806-BF8A-45A2-9C88-07C562F902FA}" type="presParOf" srcId="{63048669-DABE-4605-8721-37CAA275C921}" destId="{A3ACEE2C-ED3C-4753-BBA4-9B5C1D934F3D}" srcOrd="1" destOrd="0" presId="urn:microsoft.com/office/officeart/2005/8/layout/list1"/>
    <dgm:cxn modelId="{11A25181-D289-4F1C-A5A4-A2A34D7ED3BE}" type="presParOf" srcId="{AA82D9E3-FF81-4175-97E3-1A23D5FCFE9D}" destId="{2A2149D0-7DAE-4F69-9237-4E900A83552E}" srcOrd="9" destOrd="0" presId="urn:microsoft.com/office/officeart/2005/8/layout/list1"/>
    <dgm:cxn modelId="{41F2C108-D82A-42CE-8BCB-20D82172570B}" type="presParOf" srcId="{AA82D9E3-FF81-4175-97E3-1A23D5FCFE9D}" destId="{A5341C7F-0E08-4EA8-B21C-B80CFBBEA63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9A0E4C-29D3-4BC7-A01E-163F007996DE}">
      <dsp:nvSpPr>
        <dsp:cNvPr id="0" name=""/>
        <dsp:cNvSpPr/>
      </dsp:nvSpPr>
      <dsp:spPr>
        <a:xfrm>
          <a:off x="0" y="106349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971A39-59A2-4FF1-8EBF-B8E296D62C38}">
      <dsp:nvSpPr>
        <dsp:cNvPr id="0" name=""/>
        <dsp:cNvSpPr/>
      </dsp:nvSpPr>
      <dsp:spPr>
        <a:xfrm>
          <a:off x="345603" y="871611"/>
          <a:ext cx="6710488" cy="3837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Smartphone mit </a:t>
          </a:r>
          <a:r>
            <a:rPr lang="de-DE" sz="1300" kern="1200" dirty="0" smtClean="0">
              <a:latin typeface="Atkinson Hyperlegible" pitchFamily="2" charset="0"/>
            </a:rPr>
            <a:t>Authentifizierungs-App</a:t>
          </a:r>
          <a:endParaRPr lang="de-DE" sz="1300" kern="1200" dirty="0">
            <a:latin typeface="Atkinson Hyperlegible" pitchFamily="2" charset="0"/>
          </a:endParaRPr>
        </a:p>
      </dsp:txBody>
      <dsp:txXfrm>
        <a:off x="364337" y="890345"/>
        <a:ext cx="6673020" cy="346292"/>
      </dsp:txXfrm>
    </dsp:sp>
    <dsp:sp modelId="{6BA1D39F-2264-4F32-9463-DFCC4404B0FA}">
      <dsp:nvSpPr>
        <dsp:cNvPr id="0" name=""/>
        <dsp:cNvSpPr/>
      </dsp:nvSpPr>
      <dsp:spPr>
        <a:xfrm>
          <a:off x="0" y="165317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6E5082-9D96-4FF2-BEC5-AB32D5DDAAFB}">
      <dsp:nvSpPr>
        <dsp:cNvPr id="0" name=""/>
        <dsp:cNvSpPr/>
      </dsp:nvSpPr>
      <dsp:spPr>
        <a:xfrm>
          <a:off x="335955" y="1461291"/>
          <a:ext cx="6719099" cy="3837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Namen für das zu hinterlegende Gerät wählen</a:t>
          </a:r>
        </a:p>
      </dsp:txBody>
      <dsp:txXfrm>
        <a:off x="354689" y="1480025"/>
        <a:ext cx="6681631" cy="346292"/>
      </dsp:txXfrm>
    </dsp:sp>
    <dsp:sp modelId="{A5341C7F-0E08-4EA8-B21C-B80CFBBEA632}">
      <dsp:nvSpPr>
        <dsp:cNvPr id="0" name=""/>
        <dsp:cNvSpPr/>
      </dsp:nvSpPr>
      <dsp:spPr>
        <a:xfrm>
          <a:off x="0" y="224285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ACEE2C-ED3C-4753-BBA4-9B5C1D934F3D}">
      <dsp:nvSpPr>
        <dsp:cNvPr id="0" name=""/>
        <dsp:cNvSpPr/>
      </dsp:nvSpPr>
      <dsp:spPr>
        <a:xfrm>
          <a:off x="352839" y="2050971"/>
          <a:ext cx="6703930" cy="3837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Öffnen der </a:t>
          </a:r>
          <a:r>
            <a:rPr lang="de-DE" sz="1300" kern="1200" dirty="0" smtClean="0">
              <a:latin typeface="Atkinson Hyperlegible" pitchFamily="2" charset="0"/>
            </a:rPr>
            <a:t>Authentifizierungs-App </a:t>
          </a:r>
          <a:r>
            <a:rPr lang="de-DE" sz="1300" kern="1200" dirty="0">
              <a:latin typeface="Atkinson Hyperlegible" pitchFamily="2" charset="0"/>
            </a:rPr>
            <a:t>und </a:t>
          </a:r>
          <a:r>
            <a:rPr lang="de-DE" sz="1300" kern="1200" dirty="0" smtClean="0">
              <a:latin typeface="Atkinson Hyperlegible" pitchFamily="2" charset="0"/>
            </a:rPr>
            <a:t>Eintrag </a:t>
          </a:r>
          <a:r>
            <a:rPr lang="de-DE" sz="1300" kern="1200" dirty="0">
              <a:latin typeface="Atkinson Hyperlegible" pitchFamily="2" charset="0"/>
            </a:rPr>
            <a:t>hinzufügen</a:t>
          </a:r>
        </a:p>
      </dsp:txBody>
      <dsp:txXfrm>
        <a:off x="371573" y="2069705"/>
        <a:ext cx="6666462" cy="346292"/>
      </dsp:txXfrm>
    </dsp:sp>
    <dsp:sp modelId="{032ECB30-1A5C-4D05-AF38-E1F95ACB34BD}">
      <dsp:nvSpPr>
        <dsp:cNvPr id="0" name=""/>
        <dsp:cNvSpPr/>
      </dsp:nvSpPr>
      <dsp:spPr>
        <a:xfrm>
          <a:off x="0" y="283253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CD1CAE-711F-4688-BD1F-83F7A11890F9}">
      <dsp:nvSpPr>
        <dsp:cNvPr id="0" name=""/>
        <dsp:cNvSpPr/>
      </dsp:nvSpPr>
      <dsp:spPr>
        <a:xfrm>
          <a:off x="351116" y="2640651"/>
          <a:ext cx="6700493" cy="3837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>
              <a:latin typeface="Atkinson Hyperlegible" pitchFamily="2" charset="0"/>
            </a:rPr>
            <a:t>QR-Code scannen</a:t>
          </a:r>
        </a:p>
      </dsp:txBody>
      <dsp:txXfrm>
        <a:off x="369850" y="2659385"/>
        <a:ext cx="6663025" cy="346292"/>
      </dsp:txXfrm>
    </dsp:sp>
    <dsp:sp modelId="{A455C8B1-D3A1-4FD4-B0D7-D76FD705EBA0}">
      <dsp:nvSpPr>
        <dsp:cNvPr id="0" name=""/>
        <dsp:cNvSpPr/>
      </dsp:nvSpPr>
      <dsp:spPr>
        <a:xfrm>
          <a:off x="0" y="3422211"/>
          <a:ext cx="7056784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E2F2E1D-1179-439B-8947-0F86CF420F36}">
      <dsp:nvSpPr>
        <dsp:cNvPr id="0" name=""/>
        <dsp:cNvSpPr/>
      </dsp:nvSpPr>
      <dsp:spPr>
        <a:xfrm>
          <a:off x="345603" y="3230331"/>
          <a:ext cx="6710439" cy="3837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6711" tIns="0" rIns="186711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300" kern="1200" dirty="0" smtClean="0">
              <a:latin typeface="Atkinson Hyperlegible" pitchFamily="2" charset="0"/>
            </a:rPr>
            <a:t>6-stelligen Authentifizierungscode eingeben</a:t>
          </a:r>
          <a:endParaRPr lang="de-DE" sz="1300" kern="1200" dirty="0">
            <a:latin typeface="Atkinson Hyperlegible" pitchFamily="2" charset="0"/>
          </a:endParaRPr>
        </a:p>
      </dsp:txBody>
      <dsp:txXfrm>
        <a:off x="364337" y="3249065"/>
        <a:ext cx="6672971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39A0E4C-29D3-4BC7-A01E-163F007996DE}">
      <dsp:nvSpPr>
        <dsp:cNvPr id="0" name=""/>
        <dsp:cNvSpPr/>
      </dsp:nvSpPr>
      <dsp:spPr>
        <a:xfrm>
          <a:off x="0" y="384831"/>
          <a:ext cx="7272808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C971A39-59A2-4FF1-8EBF-B8E296D62C38}">
      <dsp:nvSpPr>
        <dsp:cNvPr id="0" name=""/>
        <dsp:cNvSpPr/>
      </dsp:nvSpPr>
      <dsp:spPr>
        <a:xfrm>
          <a:off x="356182" y="45351"/>
          <a:ext cx="6915911" cy="6789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426" tIns="0" rIns="19242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tkinson Hyperlegible" pitchFamily="2" charset="0"/>
            </a:rPr>
            <a:t>Anmeldung mit ByCS-Kennung und Passwort</a:t>
          </a:r>
          <a:endParaRPr lang="de-DE" sz="1400" kern="1200" dirty="0">
            <a:latin typeface="Atkinson Hyperlegible" pitchFamily="2" charset="0"/>
          </a:endParaRPr>
        </a:p>
      </dsp:txBody>
      <dsp:txXfrm>
        <a:off x="389326" y="78495"/>
        <a:ext cx="6849623" cy="612672"/>
      </dsp:txXfrm>
    </dsp:sp>
    <dsp:sp modelId="{6BA1D39F-2264-4F32-9463-DFCC4404B0FA}">
      <dsp:nvSpPr>
        <dsp:cNvPr id="0" name=""/>
        <dsp:cNvSpPr/>
      </dsp:nvSpPr>
      <dsp:spPr>
        <a:xfrm>
          <a:off x="0" y="1428111"/>
          <a:ext cx="7272808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6E5082-9D96-4FF2-BEC5-AB32D5DDAAFB}">
      <dsp:nvSpPr>
        <dsp:cNvPr id="0" name=""/>
        <dsp:cNvSpPr/>
      </dsp:nvSpPr>
      <dsp:spPr>
        <a:xfrm>
          <a:off x="346239" y="1088631"/>
          <a:ext cx="6924785" cy="678960"/>
        </a:xfrm>
        <a:prstGeom prst="roundRect">
          <a:avLst/>
        </a:prstGeom>
        <a:solidFill>
          <a:srgbClr val="264D7F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426" tIns="0" rIns="19242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tkinson Hyperlegible" pitchFamily="2" charset="0"/>
            </a:rPr>
            <a:t>Aufrufen einer MFA-gesicherten Anwendung</a:t>
          </a:r>
          <a:endParaRPr lang="de-DE" sz="1400" kern="1200" dirty="0">
            <a:latin typeface="Atkinson Hyperlegible" pitchFamily="2" charset="0"/>
          </a:endParaRPr>
        </a:p>
      </dsp:txBody>
      <dsp:txXfrm>
        <a:off x="379383" y="1121775"/>
        <a:ext cx="6858497" cy="612672"/>
      </dsp:txXfrm>
    </dsp:sp>
    <dsp:sp modelId="{A5341C7F-0E08-4EA8-B21C-B80CFBBEA632}">
      <dsp:nvSpPr>
        <dsp:cNvPr id="0" name=""/>
        <dsp:cNvSpPr/>
      </dsp:nvSpPr>
      <dsp:spPr>
        <a:xfrm>
          <a:off x="0" y="2471391"/>
          <a:ext cx="7272808" cy="579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ACEE2C-ED3C-4753-BBA4-9B5C1D934F3D}">
      <dsp:nvSpPr>
        <dsp:cNvPr id="0" name=""/>
        <dsp:cNvSpPr/>
      </dsp:nvSpPr>
      <dsp:spPr>
        <a:xfrm>
          <a:off x="363640" y="2131912"/>
          <a:ext cx="6909153" cy="678960"/>
        </a:xfrm>
        <a:prstGeom prst="roundRect">
          <a:avLst/>
        </a:prstGeom>
        <a:solidFill>
          <a:srgbClr val="EF743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2426" tIns="0" rIns="192426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400" kern="1200" dirty="0" smtClean="0">
              <a:latin typeface="Atkinson Hyperlegible" pitchFamily="2" charset="0"/>
            </a:rPr>
            <a:t>6-stelligen </a:t>
          </a:r>
          <a:r>
            <a:rPr lang="de-DE" sz="1400" kern="1200" smtClean="0">
              <a:latin typeface="Atkinson Hyperlegible" pitchFamily="2" charset="0"/>
            </a:rPr>
            <a:t>Authentifizierungscode übertragen</a:t>
          </a:r>
          <a:endParaRPr lang="de-DE" sz="1400" kern="1200" dirty="0">
            <a:latin typeface="Atkinson Hyperlegible" pitchFamily="2" charset="0"/>
          </a:endParaRPr>
        </a:p>
      </dsp:txBody>
      <dsp:txXfrm>
        <a:off x="396784" y="2165056"/>
        <a:ext cx="6842865" cy="61267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6905625" y="0"/>
            <a:ext cx="52832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F1B97E-109E-4410-A66E-E6C38051F116}" type="datetimeFigureOut">
              <a:rPr lang="de-DE" smtClean="0"/>
              <a:t>29.10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038600" y="857250"/>
            <a:ext cx="41148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219200" y="3300413"/>
            <a:ext cx="97536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6905625" y="6513513"/>
            <a:ext cx="52832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538CC7-274F-4D96-9816-A2F8678C04C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0863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 smtClean="0"/>
              <a:t>Flo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206D40-8C35-4451-857B-9ED065523FD5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9530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NUL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Relationship Id="rId4" Type="http://schemas.openxmlformats.org/officeDocument/2006/relationships/image" Target="NUL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3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1524000" y="1525811"/>
            <a:ext cx="9144000" cy="2387600"/>
          </a:xfrm>
        </p:spPr>
        <p:txBody>
          <a:bodyPr vert="horz"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auto">
          <a:xfrm>
            <a:off x="1524000" y="4005485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F15068E1-7DCC-4F82-885A-94237488A73D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9" name="Rechteck 10"/>
          <p:cNvSpPr/>
          <p:nvPr userDrawn="1"/>
        </p:nvSpPr>
        <p:spPr bwMode="auto">
          <a:xfrm>
            <a:off x="309283" y="947276"/>
            <a:ext cx="11591364" cy="51292"/>
          </a:xfrm>
          <a:prstGeom prst="rect">
            <a:avLst/>
          </a:prstGeom>
          <a:solidFill>
            <a:srgbClr val="EF7430"/>
          </a:solidFill>
          <a:ln>
            <a:solidFill>
              <a:srgbClr val="EF74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10" name="Rechteck 11"/>
          <p:cNvSpPr/>
          <p:nvPr userDrawn="1"/>
        </p:nvSpPr>
        <p:spPr bwMode="auto">
          <a:xfrm>
            <a:off x="309283" y="6214728"/>
            <a:ext cx="11591364" cy="51292"/>
          </a:xfrm>
          <a:prstGeom prst="rect">
            <a:avLst/>
          </a:prstGeom>
          <a:solidFill>
            <a:srgbClr val="254D7F"/>
          </a:solidFill>
          <a:ln>
            <a:solidFill>
              <a:srgbClr val="254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11" name="Grafik 7"/>
          <p:cNvPicPr>
            <a:picLocks noChangeAspect="1"/>
          </p:cNvPicPr>
          <p:nvPr userDrawn="1"/>
        </p:nvPicPr>
        <p:blipFill>
          <a:blip r:embed="rId5"/>
          <a:srcRect l="24348" t="19844" r="2590" b="17117"/>
          <a:stretch/>
        </p:blipFill>
        <p:spPr bwMode="auto">
          <a:xfrm>
            <a:off x="7171765" y="205835"/>
            <a:ext cx="4728882" cy="67954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6"/>
          <a:stretch/>
        </p:blipFill>
        <p:spPr bwMode="auto">
          <a:xfrm>
            <a:off x="291353" y="199345"/>
            <a:ext cx="2109026" cy="68339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Titel und vertikaler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Vertikaler Titel und Tex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Titel und Inhal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702E17DB-5485-4DFE-93C5-4B60C3C66417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15380" y="1124745"/>
            <a:ext cx="1116124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 bwMode="auto">
          <a:xfrm>
            <a:off x="515380" y="1955871"/>
            <a:ext cx="11161240" cy="4137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Abschnitts-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19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831850" y="1425352"/>
            <a:ext cx="10515600" cy="2852737"/>
          </a:xfrm>
        </p:spPr>
        <p:txBody>
          <a:bodyPr vert="horz" anchor="b"/>
          <a:lstStyle>
            <a:lvl1pPr>
              <a:defRPr sz="60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1850" y="430507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Zwei Inhalt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Vergleich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Nur Titel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Leer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Inhalt mit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Bild mit Überschrift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r>
              <a:t>Programm ByCS - Lenkungsausschus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B35D191-E049-4FF5-BBB2-444DE596AA7B}" type="slidenum">
              <a:rPr lang="de-DE"/>
              <a:t>‹Nr.›</a:t>
            </a:fld>
            <a:endParaRPr lang="de-DE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2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515380" y="1124745"/>
            <a:ext cx="11161240" cy="7407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15380" y="1955871"/>
            <a:ext cx="11161240" cy="41374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de-DE"/>
              <a:t>Formatvorlagen des Textmasters bearbeiten</a:t>
            </a:r>
            <a:endParaRPr/>
          </a:p>
          <a:p>
            <a:pPr lvl="1">
              <a:defRPr/>
            </a:pPr>
            <a:r>
              <a:rPr lang="de-DE"/>
              <a:t>Zweite Ebene</a:t>
            </a:r>
            <a:endParaRPr/>
          </a:p>
          <a:p>
            <a:pPr lvl="2">
              <a:defRPr/>
            </a:pPr>
            <a:r>
              <a:rPr lang="de-DE"/>
              <a:t>Dritte Ebene</a:t>
            </a:r>
            <a:endParaRPr/>
          </a:p>
          <a:p>
            <a:pPr lvl="3">
              <a:defRPr/>
            </a:pPr>
            <a:r>
              <a:rPr lang="de-DE"/>
              <a:t>Vierte Ebene</a:t>
            </a:r>
            <a:endParaRPr/>
          </a:p>
          <a:p>
            <a:pPr lvl="4">
              <a:defRPr/>
            </a:pPr>
            <a:r>
              <a:rPr lang="de-DE"/>
              <a:t>Fünfte Eben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746B6FEA-1B41-4343-8DAD-8EBE14E1BBD3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r>
              <a:rPr lang="de-DE" dirty="0" smtClean="0"/>
              <a:t>MFA – Schilf - Vorlage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383F133-523C-45CB-BBA2-9977AC2829BD}" type="slidenum">
              <a:rPr lang="de-DE"/>
              <a:t>‹Nr.›</a:t>
            </a:fld>
            <a:endParaRPr lang="de-DE"/>
          </a:p>
        </p:txBody>
      </p:sp>
      <p:sp>
        <p:nvSpPr>
          <p:cNvPr id="7" name="Rechteck 10"/>
          <p:cNvSpPr/>
          <p:nvPr userDrawn="1"/>
        </p:nvSpPr>
        <p:spPr bwMode="auto">
          <a:xfrm>
            <a:off x="309283" y="947276"/>
            <a:ext cx="11591364" cy="51292"/>
          </a:xfrm>
          <a:prstGeom prst="rect">
            <a:avLst/>
          </a:prstGeom>
          <a:solidFill>
            <a:srgbClr val="EF7430"/>
          </a:solidFill>
          <a:ln>
            <a:solidFill>
              <a:srgbClr val="EF743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sp>
        <p:nvSpPr>
          <p:cNvPr id="8" name="Rechteck 11"/>
          <p:cNvSpPr/>
          <p:nvPr userDrawn="1"/>
        </p:nvSpPr>
        <p:spPr bwMode="auto">
          <a:xfrm>
            <a:off x="309283" y="6214728"/>
            <a:ext cx="11591364" cy="51292"/>
          </a:xfrm>
          <a:prstGeom prst="rect">
            <a:avLst/>
          </a:prstGeom>
          <a:solidFill>
            <a:srgbClr val="254D7F"/>
          </a:solidFill>
          <a:ln>
            <a:solidFill>
              <a:srgbClr val="254D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de-DE"/>
          </a:p>
        </p:txBody>
      </p:sp>
      <p:pic>
        <p:nvPicPr>
          <p:cNvPr id="9" name="Grafik 7"/>
          <p:cNvPicPr>
            <a:picLocks noChangeAspect="1"/>
          </p:cNvPicPr>
          <p:nvPr userDrawn="1"/>
        </p:nvPicPr>
        <p:blipFill>
          <a:blip r:embed="rId16"/>
          <a:srcRect l="24348" t="19844" r="2590" b="17117"/>
          <a:stretch/>
        </p:blipFill>
        <p:spPr bwMode="auto">
          <a:xfrm>
            <a:off x="7171765" y="205835"/>
            <a:ext cx="4728882" cy="67954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7"/>
          <a:stretch/>
        </p:blipFill>
        <p:spPr bwMode="auto">
          <a:xfrm>
            <a:off x="291353" y="199345"/>
            <a:ext cx="2109026" cy="68339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defTabSz="914400">
        <a:lnSpc>
          <a:spcPct val="90000"/>
        </a:lnSpc>
        <a:spcBef>
          <a:spcPts val="0"/>
        </a:spcBef>
        <a:buNone/>
        <a:defRPr sz="2800">
          <a:solidFill>
            <a:schemeClr val="tx1"/>
          </a:solidFill>
          <a:latin typeface="Lexend SemiBold (Headings)"/>
          <a:ea typeface="+mj-ea"/>
          <a:cs typeface="Arial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Atkinson Hyperlegible (Body)"/>
          <a:ea typeface="+mn-ea"/>
          <a:cs typeface="Arial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alp.dillingen.de/themenseiten/bayerncloud-schule/anleitungen/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10" Type="http://schemas.openxmlformats.org/officeDocument/2006/relationships/image" Target="../media/image13.png"/><Relationship Id="rId4" Type="http://schemas.openxmlformats.org/officeDocument/2006/relationships/diagramLayout" Target="../diagrams/layout2.xml"/><Relationship Id="rId9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apple.com/de/app-store/" TargetMode="External"/><Relationship Id="rId2" Type="http://schemas.openxmlformats.org/officeDocument/2006/relationships/hyperlink" Target="https://play.google.com/" TargetMode="Externa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www.km.bayern.de/schule-digital/datensicherheit-an-schulen/umgang-mit-lehrerdienstgeraeten.html" TargetMode="External"/><Relationship Id="rId5" Type="http://schemas.openxmlformats.org/officeDocument/2006/relationships/hyperlink" Target="https://www.km.bayern.de/schule-digital/datensicherheit-an-schulen/private-endgeraete-fuer-den-dienstlichen-gebrauch.html" TargetMode="External"/><Relationship Id="rId4" Type="http://schemas.openxmlformats.org/officeDocument/2006/relationships/hyperlink" Target="https://www.microsoft.com/de-de/download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</a:t>
            </a:fld>
            <a:endParaRPr lang="de-DE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auto">
          <a:xfrm>
            <a:off x="1919536" y="2132856"/>
            <a:ext cx="8352928" cy="388843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0000"/>
          </a:bodyPr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defRPr sz="60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>
              <a:defRPr/>
            </a:pPr>
            <a:r>
              <a:rPr lang="de-DE" sz="4800" dirty="0" smtClean="0"/>
              <a:t>Schulinterne Fortbildung </a:t>
            </a:r>
          </a:p>
          <a:p>
            <a:pPr>
              <a:defRPr/>
            </a:pPr>
            <a:r>
              <a:rPr lang="de-DE" sz="4800" dirty="0" smtClean="0"/>
              <a:t>zur</a:t>
            </a:r>
          </a:p>
          <a:p>
            <a:pPr>
              <a:defRPr/>
            </a:pPr>
            <a:r>
              <a:rPr lang="de-DE" sz="4800" dirty="0" smtClean="0"/>
              <a:t>Multifaktor-Authentifizierung </a:t>
            </a:r>
            <a:r>
              <a:rPr lang="de-DE" sz="4800" dirty="0"/>
              <a:t>(MFA) in der BayernCloud </a:t>
            </a:r>
            <a:r>
              <a:rPr lang="de-DE" sz="4800" dirty="0" smtClean="0"/>
              <a:t>Schule</a:t>
            </a:r>
          </a:p>
          <a:p>
            <a:pPr>
              <a:defRPr/>
            </a:pPr>
            <a:endParaRPr lang="de-DE" sz="4800" dirty="0"/>
          </a:p>
          <a:p>
            <a:pPr>
              <a:defRPr/>
            </a:pPr>
            <a:r>
              <a:rPr lang="de-DE" sz="4800" i="1" dirty="0" smtClean="0"/>
              <a:t>[eigene Dienststelle]</a:t>
            </a:r>
          </a:p>
          <a:p>
            <a:pPr>
              <a:defRPr/>
            </a:pPr>
            <a:endParaRPr lang="de-DE" i="1" dirty="0" smtClean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3143672" y="5517232"/>
            <a:ext cx="5688632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de-DE" sz="1050" i="1" dirty="0"/>
              <a:t>Hinweis: Die aktuellste Version dieser Präsentation </a:t>
            </a:r>
            <a:r>
              <a:rPr lang="de-DE" sz="1050" i="1" dirty="0" smtClean="0"/>
              <a:t>finden Sie </a:t>
            </a:r>
            <a:r>
              <a:rPr lang="de-DE" sz="1050" i="1" dirty="0"/>
              <a:t>auf unserer </a:t>
            </a:r>
            <a:r>
              <a:rPr lang="de-DE" sz="1050" i="1" dirty="0">
                <a:hlinkClick r:id="rId2"/>
              </a:rPr>
              <a:t>Themenseite</a:t>
            </a:r>
            <a:r>
              <a:rPr lang="de-DE" i="1" dirty="0">
                <a:hlinkClick r:id="rId2"/>
              </a:rPr>
              <a:t>.</a:t>
            </a:r>
            <a:endParaRPr lang="de-DE" i="1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23044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0</a:t>
            </a:fld>
            <a:endParaRPr lang="de-DE"/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263352" y="1124745"/>
            <a:ext cx="11665296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 algn="ctr"/>
            <a:r>
              <a:rPr lang="de-DE" dirty="0" smtClean="0"/>
              <a:t>Führen Sie gemeinsam diese Schritte durch!</a:t>
            </a:r>
            <a:endParaRPr lang="de-DE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5380" y="1628800"/>
            <a:ext cx="3527307" cy="45623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" name="Gruppieren 1"/>
          <p:cNvGrpSpPr/>
          <p:nvPr/>
        </p:nvGrpSpPr>
        <p:grpSpPr>
          <a:xfrm>
            <a:off x="4583832" y="1412776"/>
            <a:ext cx="7056784" cy="4621423"/>
            <a:chOff x="4583832" y="1412776"/>
            <a:chExt cx="6624736" cy="4248472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3278271679"/>
                </p:ext>
              </p:extLst>
            </p:nvPr>
          </p:nvGraphicFramePr>
          <p:xfrm>
            <a:off x="4583832" y="1412776"/>
            <a:ext cx="6624736" cy="4248472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21" name="Grafik 2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76713" y="2087941"/>
              <a:ext cx="484191" cy="484191"/>
            </a:xfrm>
            <a:prstGeom prst="rect">
              <a:avLst/>
            </a:prstGeom>
          </p:spPr>
        </p:pic>
        <p:pic>
          <p:nvPicPr>
            <p:cNvPr id="22" name="Grafik 21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26687" y="2724087"/>
              <a:ext cx="382856" cy="382856"/>
            </a:xfrm>
            <a:prstGeom prst="rect">
              <a:avLst/>
            </a:prstGeom>
          </p:spPr>
        </p:pic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8127" y="3193641"/>
              <a:ext cx="484191" cy="484191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747884" y="4337703"/>
              <a:ext cx="382856" cy="382856"/>
            </a:xfrm>
            <a:prstGeom prst="rect">
              <a:avLst/>
            </a:prstGeom>
          </p:spPr>
        </p:pic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0517" y="3748787"/>
              <a:ext cx="484191" cy="484191"/>
            </a:xfrm>
            <a:prstGeom prst="rect">
              <a:avLst/>
            </a:prstGeom>
          </p:spPr>
        </p:pic>
      </p:grp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7960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4367808" y="1916832"/>
            <a:ext cx="7272808" cy="3096344"/>
            <a:chOff x="4583832" y="1864182"/>
            <a:chExt cx="6624736" cy="3797066"/>
          </a:xfrm>
        </p:grpSpPr>
        <p:graphicFrame>
          <p:nvGraphicFramePr>
            <p:cNvPr id="20" name="Diagramm 19"/>
            <p:cNvGraphicFramePr/>
            <p:nvPr>
              <p:extLst>
                <p:ext uri="{D42A27DB-BD31-4B8C-83A1-F6EECF244321}">
                  <p14:modId xmlns:p14="http://schemas.microsoft.com/office/powerpoint/2010/main" val="3561483394"/>
                </p:ext>
              </p:extLst>
            </p:nvPr>
          </p:nvGraphicFramePr>
          <p:xfrm>
            <a:off x="4583832" y="1864182"/>
            <a:ext cx="6624736" cy="379706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pic>
          <p:nvPicPr>
            <p:cNvPr id="23" name="Grafik 22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8250" y="4640224"/>
              <a:ext cx="484191" cy="673473"/>
            </a:xfrm>
            <a:prstGeom prst="rect">
              <a:avLst/>
            </a:prstGeom>
          </p:spPr>
        </p:pic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688250" y="3381653"/>
              <a:ext cx="382856" cy="534838"/>
            </a:xfrm>
            <a:prstGeom prst="rect">
              <a:avLst/>
            </a:prstGeom>
          </p:spPr>
        </p:pic>
      </p:grp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1</a:t>
            </a:fld>
            <a:endParaRPr lang="de-DE"/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4367808" y="1124745"/>
            <a:ext cx="756084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dirty="0" smtClean="0"/>
              <a:t>Was ändert sich beim Anmeldevorgang?</a:t>
            </a:r>
            <a:endParaRPr lang="de-DE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/>
              <a:t>ByCS – MFA - Pilot</a:t>
            </a: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31989" y="1182036"/>
            <a:ext cx="3750986" cy="49940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9397" y="2099411"/>
            <a:ext cx="420309" cy="436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9531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feld 20"/>
          <p:cNvSpPr txBox="1"/>
          <p:nvPr/>
        </p:nvSpPr>
        <p:spPr>
          <a:xfrm>
            <a:off x="2783632" y="1684762"/>
            <a:ext cx="901455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Für das Kollegium an unserer Dienststelle wurden folgende wichtigen Einstellungen vorgenommen: </a:t>
            </a:r>
          </a:p>
          <a:p>
            <a:pPr>
              <a:lnSpc>
                <a:spcPct val="150000"/>
              </a:lnSpc>
            </a:pP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MFA ist für abgesicherte Anwendungen zwingend erforderlich ab</a:t>
            </a:r>
          </a:p>
          <a:p>
            <a:pPr>
              <a:lnSpc>
                <a:spcPct val="150000"/>
              </a:lnSpc>
            </a:pP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MFA sichert zusätzlich Ihr persönliches Profil ab </a:t>
            </a: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2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Welche Termine sind für Sie wichtig?</a:t>
            </a:r>
            <a:endParaRPr lang="de-DE" sz="2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0" name="Gruppieren 29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2" name="Abgerundetes Rechteck 31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3" name="Abgerundetes Rechteck 32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4" name="Abgerundetes Rechteck 33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1" name="Abgerundetes Rechteck 30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9" name="Abgerundetes Rechteck 28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b="1" dirty="0" smtClean="0">
                    <a:solidFill>
                      <a:schemeClr val="bg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b="1" dirty="0">
                  <a:solidFill>
                    <a:schemeClr val="bg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7" name="Abgerundetes Rechteck 26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  <p:sp>
        <p:nvSpPr>
          <p:cNvPr id="3" name="Abgerundetes Rechteck 2"/>
          <p:cNvSpPr/>
          <p:nvPr/>
        </p:nvSpPr>
        <p:spPr>
          <a:xfrm>
            <a:off x="8185740" y="2644513"/>
            <a:ext cx="2530388" cy="52831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1" i="1" dirty="0" smtClean="0">
                <a:latin typeface="Atkinson Hyperlegible" pitchFamily="2" charset="0"/>
              </a:rPr>
              <a:t>[durch ByCS-Admin zu ergänzen]</a:t>
            </a:r>
            <a:endParaRPr lang="de-DE" sz="1400" b="1" i="1" dirty="0">
              <a:latin typeface="Atkinson Hyperlegible" pitchFamily="2" charset="0"/>
            </a:endParaRPr>
          </a:p>
        </p:txBody>
      </p:sp>
      <p:sp>
        <p:nvSpPr>
          <p:cNvPr id="24" name="Abgerundetes Rechteck 23"/>
          <p:cNvSpPr/>
          <p:nvPr/>
        </p:nvSpPr>
        <p:spPr>
          <a:xfrm>
            <a:off x="8185740" y="3582625"/>
            <a:ext cx="2530388" cy="528319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400" b="1" i="1" dirty="0" smtClean="0">
                <a:latin typeface="Atkinson Hyperlegible" pitchFamily="2" charset="0"/>
              </a:rPr>
              <a:t>[durch ByCS-Admin zu ergänzen]</a:t>
            </a:r>
            <a:endParaRPr lang="de-DE" sz="1400" b="1" i="1" dirty="0">
              <a:latin typeface="Atkinson Hyperlegible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036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3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Hat eine Lehrkraft keinen Zugang mehr zum persönlichen Profil?</a:t>
            </a:r>
            <a:endParaRPr lang="de-DE" sz="2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31" name="Rechteckiger Pfeil 30"/>
          <p:cNvSpPr/>
          <p:nvPr/>
        </p:nvSpPr>
        <p:spPr bwMode="auto">
          <a:xfrm rot="5400000">
            <a:off x="5824611" y="1162119"/>
            <a:ext cx="542777" cy="1461689"/>
          </a:xfrm>
          <a:prstGeom prst="bentArrow">
            <a:avLst>
              <a:gd name="adj1" fmla="val 25000"/>
              <a:gd name="adj2" fmla="val 26940"/>
              <a:gd name="adj3" fmla="val 25000"/>
              <a:gd name="adj4" fmla="val 4375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33" name="Inhaltsplatzhalter 5"/>
          <p:cNvSpPr txBox="1">
            <a:spLocks/>
          </p:cNvSpPr>
          <p:nvPr/>
        </p:nvSpPr>
        <p:spPr bwMode="auto">
          <a:xfrm>
            <a:off x="2855640" y="5168064"/>
            <a:ext cx="8928992" cy="946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400" dirty="0" smtClean="0"/>
              <a:t>Nur mit den Informationen </a:t>
            </a:r>
            <a:r>
              <a:rPr lang="de-DE" sz="1400" b="1" dirty="0" smtClean="0"/>
              <a:t>Geräte-Bezeichnung</a:t>
            </a:r>
            <a:r>
              <a:rPr lang="de-DE" sz="1400" dirty="0" smtClean="0"/>
              <a:t> und </a:t>
            </a:r>
            <a:r>
              <a:rPr lang="de-DE" sz="1400" b="1" dirty="0" smtClean="0"/>
              <a:t>Aktivierungscode</a:t>
            </a:r>
            <a:r>
              <a:rPr lang="de-DE" sz="1400" dirty="0" smtClean="0"/>
              <a:t> kann Ihr ByCS-Admin ein neues MFA-Gerät für Sie freischalten.  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5" name="Gruppieren 34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7" name="Gruppieren 36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9" name="Abgerundetes Rechteck 38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40" name="Abgerundetes Rechteck 39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41" name="Abgerundetes Rechteck 40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8" name="Abgerundetes Rechteck 37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6" name="Abgerundetes Rechteck 35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34" name="Abgerundetes Rechteck 3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>
                  <a:solidFill>
                    <a:schemeClr val="bg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2"/>
          <a:srcRect r="50709"/>
          <a:stretch/>
        </p:blipFill>
        <p:spPr bwMode="auto">
          <a:xfrm>
            <a:off x="5365155" y="2175763"/>
            <a:ext cx="4705414" cy="27815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68002" y="1563358"/>
            <a:ext cx="2549160" cy="339391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206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4</a:t>
            </a:fld>
            <a:endParaRPr lang="de-DE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5" name="Gruppieren 34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7" name="Gruppieren 36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9" name="Abgerundetes Rechteck 38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40" name="Abgerundetes Rechteck 39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41" name="Abgerundetes Rechteck 40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8" name="Abgerundetes Rechteck 37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6" name="Abgerundetes Rechteck 35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34" name="Abgerundetes Rechteck 3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b="1" dirty="0">
                  <a:solidFill>
                    <a:schemeClr val="bg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  <p:sp>
        <p:nvSpPr>
          <p:cNvPr id="20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Nutzen Sie gerne auch den persönlichen Support!</a:t>
            </a:r>
            <a:endParaRPr lang="de-DE" sz="2400" dirty="0"/>
          </a:p>
        </p:txBody>
      </p:sp>
      <p:sp>
        <p:nvSpPr>
          <p:cNvPr id="21" name="Abgerundetes Rechteck 20"/>
          <p:cNvSpPr/>
          <p:nvPr/>
        </p:nvSpPr>
        <p:spPr>
          <a:xfrm>
            <a:off x="4295800" y="1865540"/>
            <a:ext cx="5183734" cy="2553964"/>
          </a:xfrm>
          <a:prstGeom prst="roundRect">
            <a:avLst/>
          </a:prstGeom>
          <a:solidFill>
            <a:srgbClr val="5171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>
              <a:spcBef>
                <a:spcPts val="0"/>
              </a:spcBef>
              <a:spcAft>
                <a:spcPts val="0"/>
              </a:spcAft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0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Persönlicher ByCS-Support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tkinson Hyperlegible" pitchFamily="2" charset="0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E-Mail: support@bycs.de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Telefon-Hotline: 089 95 44 55 44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tkinson Hyperlegible" pitchFamily="2" charset="0"/>
              <a:cs typeface="Arial"/>
            </a:endParaRP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Telefonische Erreichbarkeit: 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Montag – Freitag, 6:00 – 22:00 Uhr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tkinson Hyperlegible" pitchFamily="2" charset="0"/>
                <a:cs typeface="Arial"/>
              </a:rPr>
              <a:t>Samstag, 10:00 – 18:00 Uhr</a:t>
            </a:r>
            <a:endParaRPr kumimoji="0" lang="de-DE" sz="1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tkinson Hyperlegible" pitchFamily="2" charset="0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12619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15</a:t>
            </a:fld>
            <a:endParaRPr lang="de-DE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5" name="Titel 2"/>
          <p:cNvSpPr txBox="1">
            <a:spLocks/>
          </p:cNvSpPr>
          <p:nvPr/>
        </p:nvSpPr>
        <p:spPr>
          <a:xfrm>
            <a:off x="1739516" y="3429000"/>
            <a:ext cx="8712968" cy="1368152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 algn="ctr"/>
            <a:r>
              <a:rPr lang="de-DE" dirty="0" smtClean="0"/>
              <a:t>Vielen Dank für Ihre Aufmerksamkeit!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3971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2</a:t>
            </a:fld>
            <a:endParaRPr lang="de-DE"/>
          </a:p>
        </p:txBody>
      </p:sp>
      <p:sp>
        <p:nvSpPr>
          <p:cNvPr id="7" name="Title Placeholder 1"/>
          <p:cNvSpPr txBox="1">
            <a:spLocks/>
          </p:cNvSpPr>
          <p:nvPr/>
        </p:nvSpPr>
        <p:spPr bwMode="auto">
          <a:xfrm>
            <a:off x="2711623" y="908720"/>
            <a:ext cx="9014549" cy="122413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pPr>
              <a:lnSpc>
                <a:spcPct val="150000"/>
              </a:lnSpc>
              <a:defRPr/>
            </a:pPr>
            <a:r>
              <a:rPr lang="de-DE" sz="2400" dirty="0"/>
              <a:t>Kommende </a:t>
            </a:r>
            <a:r>
              <a:rPr lang="de-DE" sz="2400" dirty="0" smtClean="0"/>
              <a:t>Entwicklungen in der ByCS</a:t>
            </a:r>
            <a:endParaRPr lang="de-DE" sz="2400" dirty="0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3" name="Rechteck 2"/>
          <p:cNvSpPr/>
          <p:nvPr/>
        </p:nvSpPr>
        <p:spPr>
          <a:xfrm>
            <a:off x="2715408" y="2162673"/>
            <a:ext cx="901455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sz="1400" b="1" dirty="0" smtClean="0">
                <a:latin typeface="Atkinson Hyperlegible" pitchFamily="2" charset="0"/>
              </a:rPr>
              <a:t>Online </a:t>
            </a:r>
            <a:r>
              <a:rPr lang="de-DE" sz="1400" b="1" dirty="0">
                <a:latin typeface="Atkinson Hyperlegible" pitchFamily="2" charset="0"/>
              </a:rPr>
              <a:t>Ihre Noten verwalten! </a:t>
            </a:r>
          </a:p>
          <a:p>
            <a:pPr algn="ctr">
              <a:lnSpc>
                <a:spcPct val="150000"/>
              </a:lnSpc>
            </a:pPr>
            <a:r>
              <a:rPr lang="de-DE" sz="1400" b="1" dirty="0">
                <a:latin typeface="Atkinson Hyperlegible" pitchFamily="2" charset="0"/>
              </a:rPr>
              <a:t>I</a:t>
            </a:r>
            <a:r>
              <a:rPr lang="de-DE" sz="1400" b="1" dirty="0" smtClean="0">
                <a:latin typeface="Atkinson Hyperlegible" pitchFamily="2" charset="0"/>
              </a:rPr>
              <a:t>m </a:t>
            </a:r>
            <a:r>
              <a:rPr lang="de-DE" sz="1400" b="1" dirty="0">
                <a:latin typeface="Atkinson Hyperlegible" pitchFamily="2" charset="0"/>
              </a:rPr>
              <a:t>Kollegium gemeinsam Gutachten </a:t>
            </a:r>
            <a:r>
              <a:rPr lang="de-DE" sz="1400" b="1" dirty="0" smtClean="0">
                <a:latin typeface="Atkinson Hyperlegible" pitchFamily="2" charset="0"/>
              </a:rPr>
              <a:t>erstellen! </a:t>
            </a:r>
            <a:endParaRPr lang="de-DE" sz="1400" b="1" dirty="0">
              <a:latin typeface="Atkinson Hyperlegible" pitchFamily="2" charset="0"/>
            </a:endParaRPr>
          </a:p>
          <a:p>
            <a:pPr algn="ctr">
              <a:lnSpc>
                <a:spcPct val="150000"/>
              </a:lnSpc>
            </a:pPr>
            <a:r>
              <a:rPr lang="de-DE" sz="1400" b="1" dirty="0">
                <a:latin typeface="Atkinson Hyperlegible" pitchFamily="2" charset="0"/>
              </a:rPr>
              <a:t>S</a:t>
            </a:r>
            <a:r>
              <a:rPr lang="de-DE" sz="1400" b="1" dirty="0" smtClean="0">
                <a:latin typeface="Atkinson Hyperlegible" pitchFamily="2" charset="0"/>
              </a:rPr>
              <a:t>ich </a:t>
            </a:r>
            <a:r>
              <a:rPr lang="de-DE" sz="1400" b="1" dirty="0">
                <a:latin typeface="Atkinson Hyperlegible" pitchFamily="2" charset="0"/>
              </a:rPr>
              <a:t>mit dem Kollegium über Prüfungsergebnisse </a:t>
            </a:r>
            <a:r>
              <a:rPr lang="de-DE" sz="1400" b="1" dirty="0" smtClean="0">
                <a:latin typeface="Atkinson Hyperlegible" pitchFamily="2" charset="0"/>
              </a:rPr>
              <a:t>austauschen!</a:t>
            </a:r>
            <a:endParaRPr lang="de-DE" sz="1400" b="1" dirty="0">
              <a:latin typeface="Atkinson Hyperlegible" pitchFamily="2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2783632" y="3582982"/>
            <a:ext cx="9014550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latin typeface="Atkinson Hyperlegible" pitchFamily="2" charset="0"/>
              </a:rPr>
              <a:t>Damit all diese und viele weitere Anwendungsfälle möglich werden und </a:t>
            </a:r>
            <a:r>
              <a:rPr lang="de-DE" sz="1400" dirty="0" smtClean="0">
                <a:latin typeface="Atkinson Hyperlegible" pitchFamily="2" charset="0"/>
              </a:rPr>
              <a:t>Sie dabei </a:t>
            </a:r>
            <a:r>
              <a:rPr lang="de-DE" sz="1400" dirty="0">
                <a:latin typeface="Atkinson Hyperlegible" pitchFamily="2" charset="0"/>
              </a:rPr>
              <a:t>nicht auf die angemessene Sicherheit verzichten müssen, steht Ihnen in der BayernCloud Schule eine einfache und sichere Form der Multifaktor-Authentifizierung zur Verfügung, bzw. muss diesem </a:t>
            </a:r>
            <a:r>
              <a:rPr lang="de-DE" sz="1400" b="1" dirty="0">
                <a:latin typeface="Atkinson Hyperlegible" pitchFamily="2" charset="0"/>
              </a:rPr>
              <a:t>erweiterten Funktionen und den neuen Teilanwendungen </a:t>
            </a:r>
            <a:r>
              <a:rPr lang="de-DE" sz="1400" dirty="0">
                <a:latin typeface="Atkinson Hyperlegible" pitchFamily="2" charset="0"/>
              </a:rPr>
              <a:t>vorangehen.</a:t>
            </a:r>
          </a:p>
          <a:p>
            <a:pPr>
              <a:lnSpc>
                <a:spcPct val="150000"/>
              </a:lnSpc>
            </a:pPr>
            <a:endParaRPr lang="de-DE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0" name="Gruppieren 19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8" name="Gruppieren 27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0" name="Abgerundetes Rechteck 29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1" name="Abgerundetes Rechteck 30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2" name="Abgerundetes Rechteck 31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29" name="Abgerundetes Rechteck 28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2" name="Abgerundetes Rechteck 21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18" name="Abgerundetes Rechteck 17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 smtClean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  <a:endParaRPr lang="de-DE" sz="1400" dirty="0">
                <a:solidFill>
                  <a:schemeClr val="tx1"/>
                </a:solidFill>
                <a:latin typeface="Atkinson Hyperlegible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70193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3</a:t>
            </a:fld>
            <a:endParaRPr lang="de-DE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>
          <a:xfrm>
            <a:off x="2855640" y="1322016"/>
            <a:ext cx="892899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de-DE" sz="1400" dirty="0">
                <a:latin typeface="Atkinson Hyperlegible" pitchFamily="2" charset="0"/>
              </a:rPr>
              <a:t>Sensible Daten sollen in der ByCS sicher gespeichert und verarbeitet werden können, auch dann, wenn Ihr Passwort kompromittiert wurde. </a:t>
            </a:r>
          </a:p>
          <a:p>
            <a:pPr>
              <a:defRPr/>
            </a:pPr>
            <a:endParaRPr lang="de-DE" sz="1400" dirty="0" smtClean="0">
              <a:latin typeface="Atkinson Hyperlegible" pitchFamily="2" charset="0"/>
            </a:endParaRPr>
          </a:p>
          <a:p>
            <a:pPr>
              <a:defRPr/>
            </a:pPr>
            <a:endParaRPr lang="de-DE" sz="1400" dirty="0" smtClean="0">
              <a:latin typeface="Atkinson Hyperlegible" pitchFamily="2" charset="0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3035660" y="2420888"/>
            <a:ext cx="8568952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dirty="0">
                <a:latin typeface="Atkinson Hyperlegible" pitchFamily="2" charset="0"/>
              </a:rPr>
              <a:t>Die Multifaktor-Authentifizierung ist eine zusätzliche Sicherheitsschicht, </a:t>
            </a:r>
            <a:endParaRPr lang="de-DE" sz="1400" b="1" dirty="0" smtClean="0">
              <a:latin typeface="Atkinson Hyperlegible" pitchFamily="2" charset="0"/>
            </a:endParaRPr>
          </a:p>
          <a:p>
            <a:pPr algn="ctr"/>
            <a:r>
              <a:rPr lang="de-DE" sz="1400" b="1" dirty="0" smtClean="0">
                <a:latin typeface="Atkinson Hyperlegible" pitchFamily="2" charset="0"/>
              </a:rPr>
              <a:t>die </a:t>
            </a:r>
            <a:r>
              <a:rPr lang="de-DE" sz="1400" b="1" dirty="0">
                <a:latin typeface="Atkinson Hyperlegible" pitchFamily="2" charset="0"/>
              </a:rPr>
              <a:t>einen entscheidenden Unterschied darstellt. </a:t>
            </a:r>
          </a:p>
          <a:p>
            <a:endParaRPr 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2855640" y="3260578"/>
            <a:ext cx="885698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sz="1400" dirty="0">
                <a:latin typeface="Atkinson Hyperlegible" pitchFamily="2" charset="0"/>
              </a:rPr>
              <a:t>Sie erhöht den Schutz Ihres Accounts und damit den Schutz Ihrer Schule, </a:t>
            </a: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weil </a:t>
            </a:r>
            <a:r>
              <a:rPr lang="de-DE" sz="1400" dirty="0">
                <a:latin typeface="Atkinson Hyperlegible" pitchFamily="2" charset="0"/>
              </a:rPr>
              <a:t>sie im Anschluss an die grundlegende Anmeldung einen weiteren Identitätsnachweis erfordert, </a:t>
            </a: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der </a:t>
            </a:r>
            <a:r>
              <a:rPr lang="de-DE" sz="1400" dirty="0">
                <a:latin typeface="Atkinson Hyperlegible" pitchFamily="2" charset="0"/>
              </a:rPr>
              <a:t>nur auf Ihrem Gerät hinterlegt ist. </a:t>
            </a:r>
            <a:endParaRPr lang="de-DE" sz="1400" dirty="0" smtClean="0">
              <a:latin typeface="Atkinson Hyperlegible" pitchFamily="2" charset="0"/>
            </a:endParaRP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Die Multifaktor-Authentifizierung ist daher </a:t>
            </a:r>
            <a:r>
              <a:rPr lang="de-DE" sz="1400" b="1" dirty="0" smtClean="0">
                <a:latin typeface="Atkinson Hyperlegible" pitchFamily="2" charset="0"/>
              </a:rPr>
              <a:t>nur</a:t>
            </a:r>
            <a:r>
              <a:rPr lang="de-DE" sz="1400" dirty="0" smtClean="0">
                <a:latin typeface="Atkinson Hyperlegible" pitchFamily="2" charset="0"/>
              </a:rPr>
              <a:t> für die Accounts der </a:t>
            </a:r>
            <a:r>
              <a:rPr lang="de-DE" sz="1400" b="1" dirty="0" smtClean="0">
                <a:latin typeface="Atkinson Hyperlegible" pitchFamily="2" charset="0"/>
              </a:rPr>
              <a:t>Lehrkräfte</a:t>
            </a:r>
            <a:r>
              <a:rPr lang="de-DE" sz="1400" dirty="0" smtClean="0">
                <a:latin typeface="Atkinson Hyperlegible" pitchFamily="2" charset="0"/>
              </a:rPr>
              <a:t> vorgesehen </a:t>
            </a:r>
          </a:p>
          <a:p>
            <a:pPr>
              <a:lnSpc>
                <a:spcPct val="150000"/>
              </a:lnSpc>
            </a:pPr>
            <a:r>
              <a:rPr lang="de-DE" sz="1400" dirty="0" smtClean="0">
                <a:latin typeface="Atkinson Hyperlegible" pitchFamily="2" charset="0"/>
              </a:rPr>
              <a:t>und es werden </a:t>
            </a:r>
            <a:r>
              <a:rPr lang="de-DE" sz="1400" b="1" dirty="0" smtClean="0">
                <a:latin typeface="Atkinson Hyperlegible" pitchFamily="2" charset="0"/>
              </a:rPr>
              <a:t>nur sensible Bereiche </a:t>
            </a:r>
            <a:r>
              <a:rPr lang="de-DE" sz="1400" dirty="0" smtClean="0">
                <a:latin typeface="Atkinson Hyperlegible" pitchFamily="2" charset="0"/>
              </a:rPr>
              <a:t>der ByCS dadurch abgesichert. </a:t>
            </a:r>
          </a:p>
          <a:p>
            <a:pPr>
              <a:lnSpc>
                <a:spcPct val="150000"/>
              </a:lnSpc>
            </a:pPr>
            <a:endParaRPr lang="de-DE" sz="1400" dirty="0">
              <a:latin typeface="Atkinson Hyperlegible" pitchFamily="2" charset="0"/>
            </a:endParaRPr>
          </a:p>
          <a:p>
            <a:endParaRPr lang="de-DE" sz="1400" dirty="0"/>
          </a:p>
        </p:txBody>
      </p:sp>
      <p:grpSp>
        <p:nvGrpSpPr>
          <p:cNvPr id="16" name="Gruppieren 15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17" name="Gruppieren 16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19" name="Gruppieren 18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9" name="Gruppieren 28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1" name="Abgerundetes Rechteck 30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2" name="Abgerundetes Rechteck 31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3" name="Abgerundetes Rechteck 32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0" name="Abgerundetes Rechteck 29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8" name="Abgerundetes Rechteck 27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18" name="Abgerundetes Rechteck 17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62976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4</a:t>
            </a:fld>
            <a:endParaRPr lang="de-DE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19" name="Titel 2"/>
          <p:cNvSpPr txBox="1">
            <a:spLocks/>
          </p:cNvSpPr>
          <p:nvPr/>
        </p:nvSpPr>
        <p:spPr>
          <a:xfrm>
            <a:off x="2826050" y="1124745"/>
            <a:ext cx="885057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elche weiteren Anwendungen werden geschützt und warum?</a:t>
            </a:r>
          </a:p>
        </p:txBody>
      </p:sp>
      <p:sp>
        <p:nvSpPr>
          <p:cNvPr id="20" name="Title Placeholder 1"/>
          <p:cNvSpPr txBox="1">
            <a:spLocks/>
          </p:cNvSpPr>
          <p:nvPr/>
        </p:nvSpPr>
        <p:spPr bwMode="auto">
          <a:xfrm>
            <a:off x="2826050" y="2053940"/>
            <a:ext cx="8850570" cy="107955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  <a:defRPr/>
            </a:pPr>
            <a:r>
              <a:rPr lang="de-DE" sz="1400" dirty="0" smtClean="0"/>
              <a:t>In den Basisanwendungen nehmen Sie wichtige Einstellungen für Ihre gesamte Schule vor und Sie haben auch Zugriff auf sensible Informationen, die die Schulfamilie betreffen. </a:t>
            </a:r>
            <a:r>
              <a:rPr lang="de-DE" sz="1400" dirty="0"/>
              <a:t>Zudem wird der Schutz der Basis-Anwendungen durch MFA erhöht. </a:t>
            </a:r>
          </a:p>
        </p:txBody>
      </p:sp>
      <p:sp>
        <p:nvSpPr>
          <p:cNvPr id="21" name="Title Placeholder 1"/>
          <p:cNvSpPr txBox="1">
            <a:spLocks/>
          </p:cNvSpPr>
          <p:nvPr/>
        </p:nvSpPr>
        <p:spPr bwMode="auto">
          <a:xfrm>
            <a:off x="2826050" y="4053979"/>
            <a:ext cx="3918022" cy="17629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/>
              <a:buNone/>
              <a:defRPr/>
            </a:pPr>
            <a:r>
              <a:rPr lang="de-DE" sz="1400" b="1" dirty="0"/>
              <a:t>Anwendungen mit erhöhtem </a:t>
            </a:r>
            <a:r>
              <a:rPr lang="de-DE" sz="1400" b="1" dirty="0" smtClean="0"/>
              <a:t>Schutzbedarf z.B.:</a:t>
            </a:r>
            <a:endParaRPr lang="de-DE" sz="1400" b="1" dirty="0"/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/>
              <a:t>ASV-NEO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smtClean="0"/>
              <a:t>Verwaltungsspeicher </a:t>
            </a:r>
            <a:r>
              <a:rPr lang="de-DE" sz="1400" smtClean="0"/>
              <a:t>– </a:t>
            </a:r>
            <a:r>
              <a:rPr lang="de-DE" sz="1400" smtClean="0"/>
              <a:t>Safe </a:t>
            </a:r>
            <a:endParaRPr lang="de-DE" sz="1400" dirty="0"/>
          </a:p>
        </p:txBody>
      </p:sp>
      <p:pic>
        <p:nvPicPr>
          <p:cNvPr id="22" name="Grafik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6172" y="4781141"/>
            <a:ext cx="925641" cy="925641"/>
          </a:xfrm>
          <a:prstGeom prst="rect">
            <a:avLst/>
          </a:prstGeom>
        </p:spPr>
      </p:pic>
      <p:sp>
        <p:nvSpPr>
          <p:cNvPr id="23" name="Nach unten gekrümmter Pfeil 22"/>
          <p:cNvSpPr/>
          <p:nvPr/>
        </p:nvSpPr>
        <p:spPr>
          <a:xfrm>
            <a:off x="5015987" y="3133499"/>
            <a:ext cx="3826010" cy="862172"/>
          </a:xfrm>
          <a:prstGeom prst="curvedDownArrow">
            <a:avLst>
              <a:gd name="adj1" fmla="val 25000"/>
              <a:gd name="adj2" fmla="val 66432"/>
              <a:gd name="adj3" fmla="val 36644"/>
            </a:avLst>
          </a:prstGeom>
          <a:solidFill>
            <a:srgbClr val="264D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25" name="Title Placeholder 1"/>
          <p:cNvSpPr txBox="1">
            <a:spLocks/>
          </p:cNvSpPr>
          <p:nvPr/>
        </p:nvSpPr>
        <p:spPr bwMode="auto">
          <a:xfrm>
            <a:off x="7680176" y="4053979"/>
            <a:ext cx="3918022" cy="247136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Font typeface="Arial"/>
              <a:buNone/>
              <a:defRPr/>
            </a:pPr>
            <a:r>
              <a:rPr lang="de-DE" sz="1400" b="1" dirty="0" smtClean="0"/>
              <a:t>Erhöhter Schutz für die Basisanwendungen z.B.:</a:t>
            </a:r>
            <a:endParaRPr lang="de-DE" sz="1400" b="1" dirty="0"/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smtClean="0"/>
              <a:t>Administration</a:t>
            </a:r>
            <a:endParaRPr lang="de-DE" sz="1400" dirty="0"/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err="1" smtClean="0"/>
              <a:t>Self</a:t>
            </a:r>
            <a:r>
              <a:rPr lang="de-DE" sz="1400" dirty="0" smtClean="0"/>
              <a:t>-Service-Portal (Persönliches Profil)</a:t>
            </a:r>
          </a:p>
          <a:p>
            <a:pPr>
              <a:lnSpc>
                <a:spcPct val="150000"/>
              </a:lnSpc>
              <a:spcBef>
                <a:spcPts val="600"/>
              </a:spcBef>
              <a:defRPr/>
            </a:pPr>
            <a:r>
              <a:rPr lang="de-DE" sz="1400" dirty="0" smtClean="0"/>
              <a:t>Anwendungsverwaltung</a:t>
            </a:r>
            <a:endParaRPr lang="de-DE" sz="1400" dirty="0"/>
          </a:p>
          <a:p>
            <a:pPr marL="0" indent="0">
              <a:lnSpc>
                <a:spcPct val="150000"/>
              </a:lnSpc>
              <a:buNone/>
              <a:defRPr/>
            </a:pPr>
            <a:endParaRPr lang="de-DE" sz="1400" dirty="0"/>
          </a:p>
        </p:txBody>
      </p:sp>
      <p:grpSp>
        <p:nvGrpSpPr>
          <p:cNvPr id="33" name="Gruppieren 32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34" name="Gruppieren 33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6" name="Gruppieren 35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8" name="Gruppieren 37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40" name="Abgerundetes Rechteck 39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41" name="Abgerundetes Rechteck 40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42" name="Abgerundetes Rechteck 41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9" name="Abgerundetes Rechteck 38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7" name="Abgerundetes Rechteck 36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35" name="Abgerundetes Rechteck 34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51075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5</a:t>
            </a:fld>
            <a:endParaRPr lang="de-DE"/>
          </a:p>
        </p:txBody>
      </p:sp>
      <p:sp>
        <p:nvSpPr>
          <p:cNvPr id="6" name="Titel 2"/>
          <p:cNvSpPr txBox="1">
            <a:spLocks/>
          </p:cNvSpPr>
          <p:nvPr/>
        </p:nvSpPr>
        <p:spPr>
          <a:xfrm>
            <a:off x="2853792" y="1124745"/>
            <a:ext cx="8822828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Wie wirkt eine Multifaktor-Authentifizierung?</a:t>
            </a:r>
            <a:endParaRPr lang="de-DE" sz="2400" dirty="0"/>
          </a:p>
        </p:txBody>
      </p:sp>
      <p:sp>
        <p:nvSpPr>
          <p:cNvPr id="8" name="Title Placeholder 1"/>
          <p:cNvSpPr txBox="1">
            <a:spLocks/>
          </p:cNvSpPr>
          <p:nvPr/>
        </p:nvSpPr>
        <p:spPr bwMode="auto">
          <a:xfrm>
            <a:off x="7237054" y="2132856"/>
            <a:ext cx="4439566" cy="25202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400" b="1" dirty="0">
                <a:solidFill>
                  <a:srgbClr val="EF7430"/>
                </a:solidFill>
              </a:rPr>
              <a:t>W</a:t>
            </a:r>
            <a:r>
              <a:rPr lang="de-DE" sz="1400" b="1" dirty="0" smtClean="0">
                <a:solidFill>
                  <a:srgbClr val="EF7430"/>
                </a:solidFill>
              </a:rPr>
              <a:t>ird nur abgefragt bei: </a:t>
            </a:r>
            <a:endParaRPr lang="de-DE" sz="1400" b="1" dirty="0">
              <a:solidFill>
                <a:srgbClr val="EF7430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ASV-NEO (geplant)</a:t>
            </a:r>
            <a:endParaRPr lang="de-DE" sz="1400" dirty="0">
              <a:solidFill>
                <a:srgbClr val="EF7430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Verwaltungsspeicher - Safe (geplant)</a:t>
            </a:r>
            <a:endParaRPr lang="de-DE" sz="1400" dirty="0">
              <a:solidFill>
                <a:srgbClr val="EF7430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Administration</a:t>
            </a: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Anwendungsverwaltung</a:t>
            </a:r>
          </a:p>
          <a:p>
            <a:pPr>
              <a:defRPr/>
            </a:pPr>
            <a:r>
              <a:rPr lang="de-DE" sz="1400" dirty="0" smtClean="0">
                <a:solidFill>
                  <a:srgbClr val="EF7430"/>
                </a:solidFill>
              </a:rPr>
              <a:t>…</a:t>
            </a:r>
          </a:p>
          <a:p>
            <a:pPr marL="0" indent="0">
              <a:buNone/>
              <a:defRPr/>
            </a:pPr>
            <a:endParaRPr lang="de-DE" sz="1400" dirty="0"/>
          </a:p>
        </p:txBody>
      </p:sp>
      <p:grpSp>
        <p:nvGrpSpPr>
          <p:cNvPr id="12" name="Gruppieren 11"/>
          <p:cNvGrpSpPr/>
          <p:nvPr/>
        </p:nvGrpSpPr>
        <p:grpSpPr>
          <a:xfrm>
            <a:off x="2853791" y="2492896"/>
            <a:ext cx="4228147" cy="3530523"/>
            <a:chOff x="7176120" y="3554868"/>
            <a:chExt cx="4320480" cy="1746340"/>
          </a:xfrm>
        </p:grpSpPr>
        <p:sp>
          <p:nvSpPr>
            <p:cNvPr id="10" name="Rechteck 9"/>
            <p:cNvSpPr/>
            <p:nvPr/>
          </p:nvSpPr>
          <p:spPr>
            <a:xfrm>
              <a:off x="7176120" y="4437112"/>
              <a:ext cx="4320480" cy="864096"/>
            </a:xfrm>
            <a:prstGeom prst="rect">
              <a:avLst/>
            </a:prstGeom>
            <a:solidFill>
              <a:srgbClr val="264D7F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latin typeface="Atkinson Hyperlegible" pitchFamily="2" charset="0"/>
                </a:rPr>
                <a:t>Wissen: </a:t>
              </a:r>
              <a:r>
                <a:rPr lang="de-DE" sz="2000" dirty="0" smtClean="0">
                  <a:latin typeface="Atkinson Hyperlegible" pitchFamily="2" charset="0"/>
                </a:rPr>
                <a:t>ByCS-Kennung, </a:t>
              </a:r>
              <a:r>
                <a:rPr lang="de-DE" sz="2000" dirty="0">
                  <a:latin typeface="Atkinson Hyperlegible" pitchFamily="2" charset="0"/>
                </a:rPr>
                <a:t>Passwort</a:t>
              </a:r>
            </a:p>
          </p:txBody>
        </p:sp>
        <p:sp>
          <p:nvSpPr>
            <p:cNvPr id="11" name="Rechteck 10"/>
            <p:cNvSpPr/>
            <p:nvPr/>
          </p:nvSpPr>
          <p:spPr>
            <a:xfrm>
              <a:off x="8153400" y="3554868"/>
              <a:ext cx="3343200" cy="864096"/>
            </a:xfrm>
            <a:prstGeom prst="rect">
              <a:avLst/>
            </a:prstGeom>
            <a:solidFill>
              <a:srgbClr val="EF7430"/>
            </a:solidFill>
            <a:ln>
              <a:solidFill>
                <a:srgbClr val="EF743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2000" b="1" dirty="0">
                  <a:latin typeface="Atkinson Hyperlegible" pitchFamily="2" charset="0"/>
                </a:rPr>
                <a:t>Besitz: </a:t>
              </a:r>
              <a:r>
                <a:rPr lang="de-DE" sz="2000" dirty="0">
                  <a:latin typeface="Atkinson Hyperlegible" pitchFamily="2" charset="0"/>
                </a:rPr>
                <a:t>Zweitgerät</a:t>
              </a:r>
              <a:r>
                <a:rPr lang="de-DE" sz="2000" b="1" dirty="0">
                  <a:latin typeface="Atkinson Hyperlegible" pitchFamily="2" charset="0"/>
                </a:rPr>
                <a:t> </a:t>
              </a:r>
            </a:p>
          </p:txBody>
        </p:sp>
      </p:grp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21" name="Title Placeholder 1"/>
          <p:cNvSpPr txBox="1">
            <a:spLocks/>
          </p:cNvSpPr>
          <p:nvPr/>
        </p:nvSpPr>
        <p:spPr bwMode="auto">
          <a:xfrm>
            <a:off x="7136885" y="4284742"/>
            <a:ext cx="4193526" cy="194421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  <a:defRPr/>
            </a:pPr>
            <a:r>
              <a:rPr lang="de-DE" sz="1400" b="1" dirty="0" smtClean="0">
                <a:solidFill>
                  <a:srgbClr val="264D7F"/>
                </a:solidFill>
              </a:rPr>
              <a:t>Ist wie bisher notwendig bei: </a:t>
            </a:r>
            <a:endParaRPr lang="de-DE" sz="1400" b="1" dirty="0">
              <a:solidFill>
                <a:srgbClr val="264D7F"/>
              </a:solidFill>
            </a:endParaRP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Dashboard</a:t>
            </a: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Videokonferenz</a:t>
            </a: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mebis Lernplattform</a:t>
            </a:r>
          </a:p>
          <a:p>
            <a:pPr>
              <a:defRPr/>
            </a:pPr>
            <a:r>
              <a:rPr lang="de-DE" sz="1400" dirty="0" smtClean="0">
                <a:solidFill>
                  <a:srgbClr val="264D7F"/>
                </a:solidFill>
              </a:rPr>
              <a:t>…</a:t>
            </a:r>
            <a:endParaRPr lang="de-DE" sz="1400" dirty="0">
              <a:solidFill>
                <a:srgbClr val="264D7F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0" name="Gruppieren 19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31" name="Gruppieren 30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3" name="Gruppieren 32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5" name="Abgerundetes Rechteck 34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6" name="Abgerundetes Rechteck 35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7" name="Abgerundetes Rechteck 36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4" name="Abgerundetes Rechteck 33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b="1" dirty="0" smtClean="0">
                      <a:solidFill>
                        <a:schemeClr val="bg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b="1" dirty="0">
                    <a:solidFill>
                      <a:schemeClr val="bg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32" name="Abgerundetes Rechteck 31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2" name="Abgerundetes Rechteck 21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81495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6</a:t>
            </a:fld>
            <a:endParaRPr lang="de-DE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22" name="Titel 2"/>
          <p:cNvSpPr txBox="1">
            <a:spLocks/>
          </p:cNvSpPr>
          <p:nvPr/>
        </p:nvSpPr>
        <p:spPr>
          <a:xfrm>
            <a:off x="2657344" y="1119006"/>
            <a:ext cx="1116124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 smtClean="0"/>
              <a:t>Wie funktioniert der TOTP-Standard?</a:t>
            </a:r>
            <a:endParaRPr lang="de-DE" sz="2400" dirty="0"/>
          </a:p>
        </p:txBody>
      </p:sp>
      <p:grpSp>
        <p:nvGrpSpPr>
          <p:cNvPr id="86" name="Gruppieren 85"/>
          <p:cNvGrpSpPr/>
          <p:nvPr/>
        </p:nvGrpSpPr>
        <p:grpSpPr>
          <a:xfrm>
            <a:off x="7104112" y="1021091"/>
            <a:ext cx="4864850" cy="5046378"/>
            <a:chOff x="7415811" y="871141"/>
            <a:chExt cx="4864850" cy="5046378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003" t="1697" r="28512" b="16726"/>
            <a:stretch/>
          </p:blipFill>
          <p:spPr>
            <a:xfrm>
              <a:off x="9338234" y="871141"/>
              <a:ext cx="2942427" cy="5046378"/>
            </a:xfrm>
            <a:prstGeom prst="rect">
              <a:avLst/>
            </a:prstGeom>
          </p:spPr>
        </p:pic>
        <p:grpSp>
          <p:nvGrpSpPr>
            <p:cNvPr id="85" name="Gruppieren 84"/>
            <p:cNvGrpSpPr/>
            <p:nvPr/>
          </p:nvGrpSpPr>
          <p:grpSpPr>
            <a:xfrm>
              <a:off x="7415811" y="2001560"/>
              <a:ext cx="4135533" cy="3421006"/>
              <a:chOff x="7415811" y="2001560"/>
              <a:chExt cx="4135533" cy="3421006"/>
            </a:xfrm>
          </p:grpSpPr>
          <p:grpSp>
            <p:nvGrpSpPr>
              <p:cNvPr id="30" name="Gruppieren 29"/>
              <p:cNvGrpSpPr/>
              <p:nvPr/>
            </p:nvGrpSpPr>
            <p:grpSpPr>
              <a:xfrm>
                <a:off x="9925602" y="2204864"/>
                <a:ext cx="1625742" cy="3217702"/>
                <a:chOff x="4294584" y="1954413"/>
                <a:chExt cx="2233464" cy="4104456"/>
              </a:xfrm>
            </p:grpSpPr>
            <p:grpSp>
              <p:nvGrpSpPr>
                <p:cNvPr id="40" name="Gruppieren 39"/>
                <p:cNvGrpSpPr/>
                <p:nvPr/>
              </p:nvGrpSpPr>
              <p:grpSpPr>
                <a:xfrm>
                  <a:off x="4294584" y="1954413"/>
                  <a:ext cx="2233464" cy="4104456"/>
                  <a:chOff x="838200" y="1916832"/>
                  <a:chExt cx="2233464" cy="4104456"/>
                </a:xfrm>
              </p:grpSpPr>
              <p:sp>
                <p:nvSpPr>
                  <p:cNvPr id="47" name="Abgerundetes Rechteck 46"/>
                  <p:cNvSpPr/>
                  <p:nvPr/>
                </p:nvSpPr>
                <p:spPr>
                  <a:xfrm>
                    <a:off x="838200" y="1916832"/>
                    <a:ext cx="2233464" cy="41044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38100">
                    <a:solidFill>
                      <a:srgbClr val="264D7F"/>
                    </a:solidFill>
                  </a:ln>
                  <a:effectLst>
                    <a:outerShdw blurRad="190500" algn="tl" rotWithShape="0">
                      <a:srgbClr val="000000">
                        <a:alpha val="70000"/>
                      </a:srgbClr>
                    </a:outerShdw>
                  </a:effectLst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algn="ctr"/>
                    <a:r>
                      <a:rPr lang="de-DE" sz="1100" b="1" dirty="0" smtClean="0">
                        <a:latin typeface="Atkinson Hyperlegible" pitchFamily="2" charset="0"/>
                      </a:rPr>
                      <a:t>ByCS-Server</a:t>
                    </a:r>
                    <a:endParaRPr lang="de-DE" sz="1100" b="1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800" dirty="0"/>
                  </a:p>
                  <a:p>
                    <a:pPr algn="ctr"/>
                    <a:endParaRPr lang="de-DE" sz="1800" dirty="0"/>
                  </a:p>
                  <a:p>
                    <a:pPr algn="ctr"/>
                    <a:endParaRPr lang="de-DE" sz="1800" dirty="0"/>
                  </a:p>
                </p:txBody>
              </p:sp>
              <p:sp>
                <p:nvSpPr>
                  <p:cNvPr id="48" name="Rechteck 47"/>
                  <p:cNvSpPr/>
                  <p:nvPr/>
                </p:nvSpPr>
                <p:spPr>
                  <a:xfrm>
                    <a:off x="990028" y="2475361"/>
                    <a:ext cx="946138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Secret</a:t>
                    </a:r>
                  </a:p>
                </p:txBody>
              </p:sp>
              <p:sp>
                <p:nvSpPr>
                  <p:cNvPr id="49" name="Rechteck 48"/>
                  <p:cNvSpPr/>
                  <p:nvPr/>
                </p:nvSpPr>
                <p:spPr>
                  <a:xfrm>
                    <a:off x="1996182" y="2475361"/>
                    <a:ext cx="1015467" cy="36004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Zeit</a:t>
                    </a:r>
                  </a:p>
                </p:txBody>
              </p:sp>
              <p:sp>
                <p:nvSpPr>
                  <p:cNvPr id="50" name="Rechteck 49"/>
                  <p:cNvSpPr/>
                  <p:nvPr/>
                </p:nvSpPr>
                <p:spPr>
                  <a:xfrm>
                    <a:off x="1132263" y="3195178"/>
                    <a:ext cx="1689573" cy="36004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sz="9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Verschlüsselung</a:t>
                    </a:r>
                    <a:endParaRPr lang="de-DE" sz="9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cxnSp>
                <p:nvCxnSpPr>
                  <p:cNvPr id="51" name="Gerade Verbindung mit Pfeil 50"/>
                  <p:cNvCxnSpPr>
                    <a:stCxn id="48" idx="2"/>
                    <a:endCxn id="50" idx="0"/>
                  </p:cNvCxnSpPr>
                  <p:nvPr/>
                </p:nvCxnSpPr>
                <p:spPr>
                  <a:xfrm>
                    <a:off x="1463098" y="2835402"/>
                    <a:ext cx="513953" cy="359777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Gerade Verbindung mit Pfeil 51"/>
                  <p:cNvCxnSpPr>
                    <a:stCxn id="49" idx="2"/>
                    <a:endCxn id="50" idx="0"/>
                  </p:cNvCxnSpPr>
                  <p:nvPr/>
                </p:nvCxnSpPr>
                <p:spPr>
                  <a:xfrm flipH="1">
                    <a:off x="1977050" y="2835402"/>
                    <a:ext cx="526865" cy="359777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53" name="Rechteck 52"/>
                  <p:cNvSpPr/>
                  <p:nvPr/>
                </p:nvSpPr>
                <p:spPr>
                  <a:xfrm>
                    <a:off x="1161760" y="3997045"/>
                    <a:ext cx="1548811" cy="36004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Code</a:t>
                    </a:r>
                    <a:endParaRPr lang="de-DE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54" name="Pfeil nach unten 53"/>
                  <p:cNvSpPr/>
                  <p:nvPr/>
                </p:nvSpPr>
                <p:spPr>
                  <a:xfrm>
                    <a:off x="1847527" y="3554956"/>
                    <a:ext cx="216024" cy="423111"/>
                  </a:xfrm>
                  <a:prstGeom prst="downArrow">
                    <a:avLst/>
                  </a:prstGeom>
                  <a:solidFill>
                    <a:srgbClr val="264D7F"/>
                  </a:solidFill>
                  <a:ln>
                    <a:solidFill>
                      <a:srgbClr val="264D7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  <p:sp>
              <p:nvSpPr>
                <p:cNvPr id="41" name="Pfeil nach unten 40"/>
                <p:cNvSpPr/>
                <p:nvPr/>
              </p:nvSpPr>
              <p:spPr>
                <a:xfrm>
                  <a:off x="5304634" y="4398393"/>
                  <a:ext cx="216024" cy="344751"/>
                </a:xfrm>
                <a:prstGeom prst="downArrow">
                  <a:avLst/>
                </a:prstGeom>
                <a:solidFill>
                  <a:srgbClr val="264D7F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42" name="Rechteck 41"/>
                <p:cNvSpPr/>
                <p:nvPr/>
              </p:nvSpPr>
              <p:spPr>
                <a:xfrm>
                  <a:off x="4482806" y="4762019"/>
                  <a:ext cx="1876715" cy="360041"/>
                </a:xfrm>
                <a:prstGeom prst="rect">
                  <a:avLst/>
                </a:prstGeom>
                <a:solidFill>
                  <a:srgbClr val="FFFF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Übereinstimmung?</a:t>
                  </a:r>
                </a:p>
              </p:txBody>
            </p:sp>
            <p:cxnSp>
              <p:nvCxnSpPr>
                <p:cNvPr id="43" name="Gerade Verbindung mit Pfeil 42"/>
                <p:cNvCxnSpPr>
                  <a:stCxn id="42" idx="2"/>
                  <a:endCxn id="46" idx="0"/>
                </p:cNvCxnSpPr>
                <p:nvPr/>
              </p:nvCxnSpPr>
              <p:spPr>
                <a:xfrm>
                  <a:off x="5421163" y="5122059"/>
                  <a:ext cx="574253" cy="298324"/>
                </a:xfrm>
                <a:prstGeom prst="straightConnector1">
                  <a:avLst/>
                </a:prstGeom>
                <a:ln w="19050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Gerade Verbindung mit Pfeil 43"/>
                <p:cNvCxnSpPr>
                  <a:stCxn id="42" idx="2"/>
                  <a:endCxn id="45" idx="0"/>
                </p:cNvCxnSpPr>
                <p:nvPr/>
              </p:nvCxnSpPr>
              <p:spPr>
                <a:xfrm flipH="1">
                  <a:off x="4878685" y="5122059"/>
                  <a:ext cx="542479" cy="298324"/>
                </a:xfrm>
                <a:prstGeom prst="straightConnector1">
                  <a:avLst/>
                </a:prstGeom>
                <a:ln w="19050"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Rechteck 44"/>
                <p:cNvSpPr/>
                <p:nvPr/>
              </p:nvSpPr>
              <p:spPr>
                <a:xfrm>
                  <a:off x="4294584" y="5420383"/>
                  <a:ext cx="1168200" cy="360041"/>
                </a:xfrm>
                <a:prstGeom prst="rect">
                  <a:avLst/>
                </a:prstGeom>
                <a:solidFill>
                  <a:srgbClr val="00B05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Ja</a:t>
                  </a:r>
                  <a:endParaRPr lang="de-DE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  <p:sp>
              <p:nvSpPr>
                <p:cNvPr id="46" name="Rechteck 45"/>
                <p:cNvSpPr/>
                <p:nvPr/>
              </p:nvSpPr>
              <p:spPr>
                <a:xfrm>
                  <a:off x="5462784" y="5420383"/>
                  <a:ext cx="1065264" cy="360041"/>
                </a:xfrm>
                <a:prstGeom prst="rect">
                  <a:avLst/>
                </a:prstGeom>
                <a:solidFill>
                  <a:srgbClr val="FF000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de-DE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Nein</a:t>
                  </a:r>
                  <a:endParaRPr lang="de-DE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grpSp>
            <p:nvGrpSpPr>
              <p:cNvPr id="56" name="Gruppieren 55"/>
              <p:cNvGrpSpPr/>
              <p:nvPr/>
            </p:nvGrpSpPr>
            <p:grpSpPr>
              <a:xfrm>
                <a:off x="7415811" y="2001560"/>
                <a:ext cx="1605143" cy="3061590"/>
                <a:chOff x="7320136" y="1320047"/>
                <a:chExt cx="2310371" cy="4781246"/>
              </a:xfrm>
            </p:grpSpPr>
            <p:pic>
              <p:nvPicPr>
                <p:cNvPr id="2" name="Grafik 1"/>
                <p:cNvPicPr>
                  <a:picLocks noChangeAspect="1"/>
                </p:cNvPicPr>
                <p:nvPr/>
              </p:nvPicPr>
              <p:blipFill rotWithShape="1"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29566" t="16448" r="29631" b="17640"/>
                <a:stretch/>
              </p:blipFill>
              <p:spPr>
                <a:xfrm>
                  <a:off x="7320136" y="1320047"/>
                  <a:ext cx="2310371" cy="4781246"/>
                </a:xfrm>
                <a:prstGeom prst="rect">
                  <a:avLst/>
                </a:prstGeom>
              </p:spPr>
            </p:pic>
            <p:grpSp>
              <p:nvGrpSpPr>
                <p:cNvPr id="31" name="Gruppieren 30"/>
                <p:cNvGrpSpPr/>
                <p:nvPr/>
              </p:nvGrpSpPr>
              <p:grpSpPr>
                <a:xfrm>
                  <a:off x="7646691" y="2172588"/>
                  <a:ext cx="1652552" cy="3217702"/>
                  <a:chOff x="838200" y="1916832"/>
                  <a:chExt cx="2233464" cy="4104456"/>
                </a:xfrm>
              </p:grpSpPr>
              <p:sp>
                <p:nvSpPr>
                  <p:cNvPr id="32" name="Abgerundetes Rechteck 31"/>
                  <p:cNvSpPr/>
                  <p:nvPr/>
                </p:nvSpPr>
                <p:spPr>
                  <a:xfrm>
                    <a:off x="838200" y="1916832"/>
                    <a:ext cx="2233464" cy="4104456"/>
                  </a:xfrm>
                  <a:prstGeom prst="roundRect">
                    <a:avLst/>
                  </a:prstGeom>
                  <a:solidFill>
                    <a:schemeClr val="accent1">
                      <a:lumMod val="20000"/>
                      <a:lumOff val="80000"/>
                    </a:schemeClr>
                  </a:solidFill>
                  <a:ln w="38100">
                    <a:solidFill>
                      <a:srgbClr val="264D7F"/>
                    </a:solidFill>
                  </a:ln>
                  <a:effectLst>
                    <a:outerShdw blurRad="190500" algn="tl" rotWithShape="0">
                      <a:srgbClr val="000000">
                        <a:alpha val="70000"/>
                      </a:srgbClr>
                    </a:outerShdw>
                  </a:effectLst>
                </p:spPr>
                <p:style>
                  <a:lnRef idx="2">
                    <a:schemeClr val="accent6"/>
                  </a:lnRef>
                  <a:fillRef idx="1">
                    <a:schemeClr val="lt1"/>
                  </a:fillRef>
                  <a:effectRef idx="0">
                    <a:schemeClr val="accent6"/>
                  </a:effectRef>
                  <a:fontRef idx="minor">
                    <a:schemeClr val="dk1"/>
                  </a:fontRef>
                </p:style>
                <p:txBody>
                  <a:bodyPr rtlCol="0" anchor="t"/>
                  <a:lstStyle/>
                  <a:p>
                    <a:pPr algn="ctr"/>
                    <a:r>
                      <a:rPr lang="de-DE" sz="1100" b="1" dirty="0" smtClean="0">
                        <a:latin typeface="Atkinson Hyperlegible" pitchFamily="2" charset="0"/>
                      </a:rPr>
                      <a:t>TOTP-App</a:t>
                    </a:r>
                    <a:endParaRPr lang="de-DE" sz="1100" b="1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100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100" dirty="0">
                      <a:latin typeface="Atkinson Hyperlegible" pitchFamily="2" charset="0"/>
                    </a:endParaRPr>
                  </a:p>
                  <a:p>
                    <a:pPr algn="ctr"/>
                    <a:endParaRPr lang="de-DE" sz="1100" dirty="0"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3" name="Rechteck 32"/>
                  <p:cNvSpPr/>
                  <p:nvPr/>
                </p:nvSpPr>
                <p:spPr>
                  <a:xfrm>
                    <a:off x="916658" y="2511865"/>
                    <a:ext cx="946138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Zeit</a:t>
                    </a:r>
                  </a:p>
                </p:txBody>
              </p:sp>
              <p:sp>
                <p:nvSpPr>
                  <p:cNvPr id="34" name="Rechteck 33"/>
                  <p:cNvSpPr/>
                  <p:nvPr/>
                </p:nvSpPr>
                <p:spPr>
                  <a:xfrm>
                    <a:off x="1941256" y="2512267"/>
                    <a:ext cx="1068472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Secret</a:t>
                    </a:r>
                    <a:endParaRPr lang="de-DE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5" name="Rechteck 34"/>
                  <p:cNvSpPr/>
                  <p:nvPr/>
                </p:nvSpPr>
                <p:spPr>
                  <a:xfrm>
                    <a:off x="898738" y="3374604"/>
                    <a:ext cx="2093070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sz="9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Verschlüsselung</a:t>
                    </a:r>
                    <a:endParaRPr lang="de-DE" sz="9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cxnSp>
                <p:nvCxnSpPr>
                  <p:cNvPr id="36" name="Gerade Verbindung mit Pfeil 35"/>
                  <p:cNvCxnSpPr>
                    <a:stCxn id="33" idx="2"/>
                    <a:endCxn id="35" idx="0"/>
                  </p:cNvCxnSpPr>
                  <p:nvPr/>
                </p:nvCxnSpPr>
                <p:spPr>
                  <a:xfrm>
                    <a:off x="1389728" y="2871904"/>
                    <a:ext cx="555545" cy="502700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Gerade Verbindung mit Pfeil 36"/>
                  <p:cNvCxnSpPr>
                    <a:stCxn id="34" idx="2"/>
                    <a:endCxn id="35" idx="0"/>
                  </p:cNvCxnSpPr>
                  <p:nvPr/>
                </p:nvCxnSpPr>
                <p:spPr>
                  <a:xfrm flipH="1">
                    <a:off x="1945273" y="2872307"/>
                    <a:ext cx="530219" cy="502298"/>
                  </a:xfrm>
                  <a:prstGeom prst="straightConnector1">
                    <a:avLst/>
                  </a:prstGeom>
                  <a:ln w="19050">
                    <a:tailEnd type="triangle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38" name="Rechteck 37"/>
                  <p:cNvSpPr/>
                  <p:nvPr/>
                </p:nvSpPr>
                <p:spPr>
                  <a:xfrm>
                    <a:off x="1183707" y="4233478"/>
                    <a:ext cx="1548812" cy="360040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r>
                      <a:rPr lang="de-DE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Code</a:t>
                    </a:r>
                    <a:endParaRPr lang="de-DE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9" name="Pfeil nach unten 38"/>
                  <p:cNvSpPr/>
                  <p:nvPr/>
                </p:nvSpPr>
                <p:spPr>
                  <a:xfrm>
                    <a:off x="1845866" y="3777135"/>
                    <a:ext cx="216024" cy="344751"/>
                  </a:xfrm>
                  <a:prstGeom prst="downArrow">
                    <a:avLst/>
                  </a:prstGeom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de-DE"/>
                  </a:p>
                </p:txBody>
              </p:sp>
            </p:grpSp>
          </p:grpSp>
          <p:cxnSp>
            <p:nvCxnSpPr>
              <p:cNvPr id="29" name="Gewinkelter Verbinder 28"/>
              <p:cNvCxnSpPr>
                <a:stCxn id="38" idx="2"/>
                <a:endCxn id="42" idx="1"/>
              </p:cNvCxnSpPr>
              <p:nvPr/>
            </p:nvCxnSpPr>
            <p:spPr>
              <a:xfrm rot="16200000" flipH="1">
                <a:off x="8812555" y="3296969"/>
                <a:ext cx="655881" cy="1844227"/>
              </a:xfrm>
              <a:prstGeom prst="bentConnector2">
                <a:avLst/>
              </a:prstGeom>
              <a:ln w="1270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7" name="Textfeld 26"/>
              <p:cNvSpPr txBox="1"/>
              <p:nvPr/>
            </p:nvSpPr>
            <p:spPr>
              <a:xfrm>
                <a:off x="8782816" y="4529953"/>
                <a:ext cx="96334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/>
                  <a:t>Eingabe</a:t>
                </a:r>
                <a:endParaRPr lang="de-DE" dirty="0"/>
              </a:p>
            </p:txBody>
          </p:sp>
          <p:sp>
            <p:nvSpPr>
              <p:cNvPr id="25" name="Pfeil nach links und rechts 24"/>
              <p:cNvSpPr/>
              <p:nvPr/>
            </p:nvSpPr>
            <p:spPr>
              <a:xfrm>
                <a:off x="8840950" y="2768748"/>
                <a:ext cx="1151481" cy="261560"/>
              </a:xfrm>
              <a:prstGeom prst="leftRightArrow">
                <a:avLst/>
              </a:prstGeom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1100" dirty="0">
                  <a:latin typeface="Atkinson Hyperlegible" pitchFamily="2" charset="0"/>
                </a:endParaRPr>
              </a:p>
            </p:txBody>
          </p:sp>
          <p:sp>
            <p:nvSpPr>
              <p:cNvPr id="55" name="Textfeld 54"/>
              <p:cNvSpPr txBox="1"/>
              <p:nvPr/>
            </p:nvSpPr>
            <p:spPr>
              <a:xfrm>
                <a:off x="8777923" y="2574758"/>
                <a:ext cx="96334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de-DE" dirty="0" smtClean="0">
                    <a:latin typeface="Atkinson Hyperlegible" pitchFamily="2" charset="0"/>
                  </a:rPr>
                  <a:t>Austausch</a:t>
                </a:r>
                <a:endParaRPr lang="de-DE" dirty="0">
                  <a:latin typeface="Atkinson Hyperlegible" pitchFamily="2" charset="0"/>
                </a:endParaRPr>
              </a:p>
            </p:txBody>
          </p:sp>
        </p:grpSp>
      </p:grpSp>
      <p:sp>
        <p:nvSpPr>
          <p:cNvPr id="87" name="Title Placeholder 1"/>
          <p:cNvSpPr txBox="1">
            <a:spLocks/>
          </p:cNvSpPr>
          <p:nvPr/>
        </p:nvSpPr>
        <p:spPr bwMode="auto">
          <a:xfrm>
            <a:off x="2790145" y="2354813"/>
            <a:ext cx="3548745" cy="321770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  <a:defRPr/>
            </a:pPr>
            <a:r>
              <a:rPr lang="de-DE" sz="1400" dirty="0" smtClean="0"/>
              <a:t>Durch den </a:t>
            </a:r>
            <a:r>
              <a:rPr lang="de-DE" sz="1400" b="1" dirty="0" smtClean="0"/>
              <a:t>Austausch eines Token </a:t>
            </a:r>
            <a:r>
              <a:rPr lang="de-DE" sz="1400" dirty="0" smtClean="0"/>
              <a:t>(Secret) beim Hinterlegungsprozess ist sichergestellt, dass nur noch dieses Gerät einen Zugriff autorisieren kann. </a:t>
            </a:r>
          </a:p>
          <a:p>
            <a:pPr marL="0" indent="0">
              <a:buFont typeface="Arial"/>
              <a:buNone/>
              <a:defRPr/>
            </a:pPr>
            <a:r>
              <a:rPr lang="de-DE" sz="1400" dirty="0" smtClean="0"/>
              <a:t>Dieses Token wird </a:t>
            </a:r>
            <a:r>
              <a:rPr lang="de-DE" sz="1400" b="1" dirty="0" smtClean="0"/>
              <a:t>mit der Systemzeit </a:t>
            </a:r>
            <a:r>
              <a:rPr lang="de-DE" sz="1400" dirty="0" smtClean="0"/>
              <a:t>beider Systeme verrechnet. So entsteht ein </a:t>
            </a:r>
            <a:r>
              <a:rPr lang="de-DE" sz="1400" b="1" dirty="0" smtClean="0"/>
              <a:t>Authentifizierungscode</a:t>
            </a:r>
            <a:r>
              <a:rPr lang="de-DE" sz="1400" dirty="0" smtClean="0"/>
              <a:t>, der nur zu einem bestimmten Zeitpunkt für </a:t>
            </a:r>
            <a:r>
              <a:rPr lang="de-DE" sz="1400" b="1" dirty="0" smtClean="0"/>
              <a:t>30 Sekunden</a:t>
            </a:r>
            <a:r>
              <a:rPr lang="de-DE" sz="1400" dirty="0" smtClean="0"/>
              <a:t> gültig ist. Dies ist auch offline möglich. </a:t>
            </a:r>
          </a:p>
          <a:p>
            <a:pPr marL="0" indent="0">
              <a:buFont typeface="Arial"/>
              <a:buNone/>
              <a:defRPr/>
            </a:pPr>
            <a:r>
              <a:rPr lang="de-DE" sz="1400" dirty="0" smtClean="0"/>
              <a:t>Der Abgleich erfolgt nach </a:t>
            </a:r>
            <a:r>
              <a:rPr lang="de-DE" sz="1400" b="1" dirty="0" smtClean="0"/>
              <a:t>Eingabe des Authentifizierungscodes</a:t>
            </a:r>
            <a:r>
              <a:rPr lang="de-DE" sz="1400" dirty="0" smtClean="0"/>
              <a:t> auf der Anmeldemaske. </a:t>
            </a:r>
            <a:endParaRPr lang="de-DE" sz="1400" dirty="0"/>
          </a:p>
        </p:txBody>
      </p:sp>
      <p:grpSp>
        <p:nvGrpSpPr>
          <p:cNvPr id="65" name="Gruppieren 6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66" name="Gruppieren 6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68" name="Gruppieren 67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70" name="Gruppieren 69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72" name="Abgerundetes Rechteck 71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73" name="Abgerundetes Rechteck 72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dirty="0" smtClean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dirty="0">
                      <a:solidFill>
                        <a:schemeClr val="tx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74" name="Abgerundetes Rechteck 73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71" name="Abgerundetes Rechteck 70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b="1" dirty="0" smtClean="0">
                      <a:solidFill>
                        <a:schemeClr val="bg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b="1" dirty="0">
                    <a:solidFill>
                      <a:schemeClr val="bg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69" name="Abgerundetes Rechteck 68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67" name="Abgerundetes Rechteck 66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82670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7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855641" y="1124745"/>
            <a:ext cx="8820979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o </a:t>
            </a:r>
            <a:r>
              <a:rPr lang="de-DE" sz="2400" dirty="0" smtClean="0"/>
              <a:t>ist </a:t>
            </a:r>
            <a:r>
              <a:rPr lang="de-DE" sz="2400" dirty="0"/>
              <a:t>die MFA zu </a:t>
            </a:r>
            <a:r>
              <a:rPr lang="de-DE" sz="2400" dirty="0" smtClean="0"/>
              <a:t>finden?</a:t>
            </a:r>
            <a:endParaRPr lang="de-DE" sz="240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 bwMode="auto">
          <a:xfrm>
            <a:off x="7392144" y="1988840"/>
            <a:ext cx="3672408" cy="33429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r>
              <a:rPr lang="de-DE" sz="1400" dirty="0" smtClean="0"/>
              <a:t>Im </a:t>
            </a:r>
            <a:r>
              <a:rPr lang="de-DE" sz="1400" dirty="0"/>
              <a:t>persönlichen Profil wird künftig eine Schaltfläche mehr zu finden sein. </a:t>
            </a:r>
            <a:endParaRPr lang="de-DE" sz="1400" dirty="0" smtClean="0"/>
          </a:p>
          <a:p>
            <a:pPr marL="0" indent="0">
              <a:buNone/>
            </a:pPr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855641" y="1628800"/>
            <a:ext cx="4320479" cy="4464496"/>
            <a:chOff x="2855641" y="1124745"/>
            <a:chExt cx="4752528" cy="4968551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855641" y="1124745"/>
              <a:ext cx="4752528" cy="496855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8100"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" name="Rechteck 1"/>
            <p:cNvSpPr/>
            <p:nvPr/>
          </p:nvSpPr>
          <p:spPr>
            <a:xfrm>
              <a:off x="3734976" y="5529871"/>
              <a:ext cx="1368152" cy="432048"/>
            </a:xfrm>
            <a:prstGeom prst="rect">
              <a:avLst/>
            </a:prstGeom>
            <a:noFill/>
            <a:ln w="222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6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5" name="Gruppieren 24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7" name="Gruppieren 26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29" name="Abgerundetes Rechteck 28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0" name="Abgerundetes Rechteck 29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b="1" dirty="0" smtClean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1" name="Abgerundetes Rechteck 30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28" name="Abgerundetes Rechteck 27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6" name="Abgerundetes Rechteck 25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4" name="Abgerundetes Rechteck 2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12364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8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o </a:t>
            </a:r>
            <a:r>
              <a:rPr lang="de-DE" sz="2400" dirty="0" smtClean="0"/>
              <a:t>ist </a:t>
            </a:r>
            <a:r>
              <a:rPr lang="de-DE" sz="2400" dirty="0"/>
              <a:t>die MFA zu </a:t>
            </a:r>
            <a:r>
              <a:rPr lang="de-DE" sz="2400" dirty="0" smtClean="0"/>
              <a:t>finden?</a:t>
            </a:r>
            <a:endParaRPr lang="de-DE" sz="240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 bwMode="auto">
          <a:xfrm>
            <a:off x="7392144" y="1621682"/>
            <a:ext cx="3672408" cy="37101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 smtClean="0"/>
          </a:p>
          <a:p>
            <a:r>
              <a:rPr lang="de-DE" sz="1400" dirty="0" smtClean="0"/>
              <a:t>Wählen Sie Gerät hinzufügen. </a:t>
            </a:r>
            <a:endParaRPr lang="de-DE" sz="1400" dirty="0"/>
          </a:p>
          <a:p>
            <a:pPr marL="0" indent="0">
              <a:buNone/>
            </a:pPr>
            <a:endParaRPr lang="de-DE" sz="1400" dirty="0"/>
          </a:p>
          <a:p>
            <a:r>
              <a:rPr lang="de-DE" sz="1400" dirty="0" smtClean="0"/>
              <a:t>Führen Sie die vier Schritte des Hinterlegungsprozesses durch.</a:t>
            </a:r>
          </a:p>
          <a:p>
            <a:pPr marL="0" indent="0">
              <a:buNone/>
            </a:pPr>
            <a:endParaRPr lang="de-DE" sz="1400" dirty="0" smtClean="0"/>
          </a:p>
          <a:p>
            <a:r>
              <a:rPr lang="de-DE" sz="1400" dirty="0" smtClean="0"/>
              <a:t>Es können bis zu drei MFA-Geräte bei einem Account hinterlegt werden.  </a:t>
            </a:r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pic>
        <p:nvPicPr>
          <p:cNvPr id="22" name="Grafik 21"/>
          <p:cNvPicPr/>
          <p:nvPr/>
        </p:nvPicPr>
        <p:blipFill>
          <a:blip r:embed="rId2"/>
          <a:stretch/>
        </p:blipFill>
        <p:spPr bwMode="auto">
          <a:xfrm>
            <a:off x="2707061" y="1580248"/>
            <a:ext cx="4206240" cy="8921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Rechteck 22"/>
          <p:cNvSpPr/>
          <p:nvPr/>
        </p:nvSpPr>
        <p:spPr>
          <a:xfrm>
            <a:off x="6001747" y="2011529"/>
            <a:ext cx="811726" cy="335116"/>
          </a:xfrm>
          <a:prstGeom prst="rect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24" name="Grafik 23"/>
          <p:cNvPicPr/>
          <p:nvPr/>
        </p:nvPicPr>
        <p:blipFill>
          <a:blip r:embed="rId3"/>
          <a:stretch/>
        </p:blipFill>
        <p:spPr bwMode="auto">
          <a:xfrm>
            <a:off x="2707061" y="2591272"/>
            <a:ext cx="4206240" cy="33935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5" name="Gruppieren 24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6" name="Gruppieren 25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8" name="Gruppieren 27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30" name="Gruppieren 29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2" name="Abgerundetes Rechteck 31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3" name="Abgerundetes Rechteck 32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b="1" dirty="0" smtClean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4" name="Abgerundetes Rechteck 33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31" name="Abgerundetes Rechteck 30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9" name="Abgerundetes Rechteck 28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7" name="Abgerundetes Rechteck 26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24576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4B35D191-E049-4FF5-BBB2-444DE596AA7B}" type="slidenum">
              <a:rPr lang="de-DE" smtClean="0"/>
              <a:t>9</a:t>
            </a:fld>
            <a:endParaRPr lang="de-DE"/>
          </a:p>
        </p:txBody>
      </p:sp>
      <p:sp>
        <p:nvSpPr>
          <p:cNvPr id="9" name="Titel 2"/>
          <p:cNvSpPr txBox="1">
            <a:spLocks/>
          </p:cNvSpPr>
          <p:nvPr/>
        </p:nvSpPr>
        <p:spPr>
          <a:xfrm>
            <a:off x="2714401" y="1124745"/>
            <a:ext cx="8962220" cy="740795"/>
          </a:xfrm>
          <a:prstGeom prst="rect">
            <a:avLst/>
          </a:prstGeom>
        </p:spPr>
        <p:txBody>
          <a:bodyPr/>
          <a:lstStyle>
            <a:lvl1pPr algn="l" defTabSz="914400">
              <a:lnSpc>
                <a:spcPct val="90000"/>
              </a:lnSpc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Lexend SemiBold (Headings)"/>
                <a:ea typeface="+mj-ea"/>
                <a:cs typeface="Arial"/>
              </a:defRPr>
            </a:lvl1pPr>
          </a:lstStyle>
          <a:p>
            <a:r>
              <a:rPr lang="de-DE" sz="2400" dirty="0"/>
              <a:t>Wo </a:t>
            </a:r>
            <a:r>
              <a:rPr lang="de-DE" sz="2400" dirty="0" smtClean="0"/>
              <a:t>erhalte ich eine Authentifizierungs-App für mein MFA-Gerät?</a:t>
            </a:r>
            <a:endParaRPr lang="de-DE" sz="2400" dirty="0"/>
          </a:p>
        </p:txBody>
      </p:sp>
      <p:sp>
        <p:nvSpPr>
          <p:cNvPr id="11" name="Inhaltsplatzhalter 5"/>
          <p:cNvSpPr txBox="1">
            <a:spLocks/>
          </p:cNvSpPr>
          <p:nvPr/>
        </p:nvSpPr>
        <p:spPr bwMode="auto">
          <a:xfrm>
            <a:off x="2855640" y="1794416"/>
            <a:ext cx="8498160" cy="187518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dirty="0" smtClean="0"/>
              <a:t>Nutzen Sie das Downloadportal Ihres Betriebssystems. </a:t>
            </a:r>
          </a:p>
          <a:p>
            <a:r>
              <a:rPr lang="de-DE" sz="1500" dirty="0" smtClean="0"/>
              <a:t>Verwenden Sie den Suchbegriff: TOTP</a:t>
            </a:r>
          </a:p>
          <a:p>
            <a:r>
              <a:rPr lang="de-DE" sz="1500" dirty="0" smtClean="0"/>
              <a:t>Android: </a:t>
            </a:r>
            <a:r>
              <a:rPr lang="de-DE" sz="1500" dirty="0" smtClean="0">
                <a:hlinkClick r:id="rId2"/>
              </a:rPr>
              <a:t>https</a:t>
            </a:r>
            <a:r>
              <a:rPr lang="de-DE" sz="1500" dirty="0">
                <a:hlinkClick r:id="rId2"/>
              </a:rPr>
              <a:t>://play.google.com</a:t>
            </a:r>
            <a:r>
              <a:rPr lang="de-DE" sz="1500" dirty="0" smtClean="0">
                <a:hlinkClick r:id="rId2"/>
              </a:rPr>
              <a:t>/</a:t>
            </a:r>
            <a:endParaRPr lang="de-DE" sz="1500" dirty="0" smtClean="0"/>
          </a:p>
          <a:p>
            <a:r>
              <a:rPr lang="de-DE" sz="1500" dirty="0"/>
              <a:t>iOS: </a:t>
            </a:r>
            <a:r>
              <a:rPr lang="de-DE" sz="1500" dirty="0">
                <a:hlinkClick r:id="rId3"/>
              </a:rPr>
              <a:t>https://www.apple.com/de/app-store</a:t>
            </a:r>
            <a:r>
              <a:rPr lang="de-DE" sz="1500" dirty="0" smtClean="0">
                <a:hlinkClick r:id="rId3"/>
              </a:rPr>
              <a:t>/</a:t>
            </a:r>
            <a:endParaRPr lang="de-DE" sz="1500" dirty="0" smtClean="0"/>
          </a:p>
          <a:p>
            <a:r>
              <a:rPr lang="de-DE" sz="1500" dirty="0"/>
              <a:t>Microsoft: </a:t>
            </a:r>
            <a:r>
              <a:rPr lang="de-DE" sz="1500" dirty="0">
                <a:hlinkClick r:id="rId4"/>
              </a:rPr>
              <a:t>https://</a:t>
            </a:r>
            <a:r>
              <a:rPr lang="de-DE" sz="1500" dirty="0" smtClean="0">
                <a:hlinkClick r:id="rId4"/>
              </a:rPr>
              <a:t>www.microsoft.com/de-de/download</a:t>
            </a:r>
            <a:endParaRPr lang="de-DE" sz="1500" dirty="0" smtClean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 bwMode="auto">
          <a:xfrm>
            <a:off x="838200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7D43B-13D8-4DA0-BACF-70663F7AE4DE}" type="datetime1">
              <a:rPr lang="de-DE" smtClean="0"/>
              <a:pPr>
                <a:defRPr/>
              </a:pPr>
              <a:t>29.10.2024</a:t>
            </a:fld>
            <a:endParaRPr lang="de-DE" dirty="0"/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>
              <a:defRPr/>
            </a:pPr>
            <a:r>
              <a:rPr lang="de-DE" dirty="0" smtClean="0"/>
              <a:t>ByCS – MFA - SCHILF</a:t>
            </a:r>
            <a:endParaRPr lang="de-DE" dirty="0"/>
          </a:p>
        </p:txBody>
      </p:sp>
      <p:sp>
        <p:nvSpPr>
          <p:cNvPr id="25" name="Inhaltsplatzhalter 5"/>
          <p:cNvSpPr txBox="1">
            <a:spLocks/>
          </p:cNvSpPr>
          <p:nvPr/>
        </p:nvSpPr>
        <p:spPr bwMode="auto">
          <a:xfrm>
            <a:off x="2714400" y="3717643"/>
            <a:ext cx="9142240" cy="23756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1pPr>
            <a:lvl2pPr marL="685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2pPr>
            <a:lvl3pPr marL="1143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3pPr>
            <a:lvl4pPr marL="1600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4pPr>
            <a:lvl5pPr marL="20574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Atkinson Hyperlegible (Body)"/>
                <a:ea typeface="+mn-ea"/>
                <a:cs typeface="Arial"/>
              </a:defRPr>
            </a:lvl5pPr>
            <a:lvl6pPr marL="25146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1500" b="1" dirty="0" smtClean="0"/>
              <a:t>Welche APP ist geeignet?</a:t>
            </a:r>
          </a:p>
          <a:p>
            <a:pPr marL="0" indent="0">
              <a:buNone/>
            </a:pPr>
            <a:r>
              <a:rPr lang="de-DE" sz="1500" dirty="0"/>
              <a:t>Beachten </a:t>
            </a:r>
            <a:r>
              <a:rPr lang="de-DE" sz="1500" dirty="0" smtClean="0"/>
              <a:t>Sie an dieser Stelle </a:t>
            </a:r>
            <a:r>
              <a:rPr lang="de-DE" sz="1500" dirty="0"/>
              <a:t>die Regelungen für die Verwendung </a:t>
            </a:r>
            <a:r>
              <a:rPr lang="de-DE" sz="1500" u="sng" dirty="0">
                <a:hlinkClick r:id="rId5"/>
              </a:rPr>
              <a:t>dienstlich genutzter privater Endgeräte</a:t>
            </a:r>
            <a:r>
              <a:rPr lang="de-DE" sz="1500" dirty="0"/>
              <a:t> und die </a:t>
            </a:r>
            <a:r>
              <a:rPr lang="de-DE" sz="1500" u="sng" dirty="0">
                <a:hlinkClick r:id="rId6"/>
              </a:rPr>
              <a:t>Mindestsicherheitsstandards</a:t>
            </a:r>
            <a:r>
              <a:rPr lang="de-DE" sz="1500" dirty="0"/>
              <a:t> bei Lehrerdienstgeräten. </a:t>
            </a:r>
          </a:p>
          <a:p>
            <a:pPr marL="0" indent="0">
              <a:buNone/>
            </a:pPr>
            <a:r>
              <a:rPr lang="de-DE" sz="1500" b="1" dirty="0" smtClean="0"/>
              <a:t>Beispiele: </a:t>
            </a:r>
          </a:p>
          <a:p>
            <a:pPr>
              <a:spcBef>
                <a:spcPts val="0"/>
              </a:spcBef>
            </a:pPr>
            <a:r>
              <a:rPr lang="de-DE" sz="1500" dirty="0" smtClean="0"/>
              <a:t>Google </a:t>
            </a:r>
            <a:r>
              <a:rPr lang="de-DE" sz="1500" dirty="0" err="1" smtClean="0"/>
              <a:t>Authenticator</a:t>
            </a:r>
            <a:endParaRPr lang="de-DE" sz="1500" dirty="0"/>
          </a:p>
          <a:p>
            <a:pPr>
              <a:spcBef>
                <a:spcPts val="0"/>
              </a:spcBef>
            </a:pPr>
            <a:r>
              <a:rPr lang="de-DE" sz="1500" dirty="0" err="1" smtClean="0"/>
              <a:t>FreeOTP</a:t>
            </a:r>
            <a:r>
              <a:rPr lang="de-DE" sz="1500" dirty="0"/>
              <a:t> 			</a:t>
            </a:r>
            <a:r>
              <a:rPr lang="de-DE" sz="1500" dirty="0" smtClean="0"/>
              <a:t>	</a:t>
            </a:r>
          </a:p>
          <a:p>
            <a:pPr>
              <a:spcBef>
                <a:spcPts val="0"/>
              </a:spcBef>
            </a:pPr>
            <a:r>
              <a:rPr lang="de-DE" sz="1500" dirty="0" smtClean="0"/>
              <a:t>2fast </a:t>
            </a:r>
          </a:p>
          <a:p>
            <a:pPr>
              <a:spcBef>
                <a:spcPts val="0"/>
              </a:spcBef>
            </a:pPr>
            <a:r>
              <a:rPr lang="de-DE" sz="1500" dirty="0" smtClean="0"/>
              <a:t>Microsoft </a:t>
            </a:r>
            <a:r>
              <a:rPr lang="de-DE" sz="1500" dirty="0" err="1" smtClean="0"/>
              <a:t>Authenticator</a:t>
            </a:r>
            <a:endParaRPr lang="de-DE" sz="1500" dirty="0"/>
          </a:p>
          <a:p>
            <a:pPr>
              <a:spcBef>
                <a:spcPts val="0"/>
              </a:spcBef>
            </a:pPr>
            <a:r>
              <a:rPr lang="de-DE" sz="1500" dirty="0" smtClean="0">
                <a:latin typeface="Atkinson Hyperlegible" pitchFamily="2" charset="0"/>
              </a:rPr>
              <a:t>2FAS</a:t>
            </a:r>
            <a:endParaRPr lang="de-DE" sz="1500" dirty="0">
              <a:latin typeface="Atkinson Hyperlegible" pitchFamily="2" charset="0"/>
            </a:endParaRPr>
          </a:p>
          <a:p>
            <a:pPr>
              <a:spcBef>
                <a:spcPts val="0"/>
              </a:spcBef>
            </a:pPr>
            <a:endParaRPr lang="de-DE" sz="1500" dirty="0" smtClean="0"/>
          </a:p>
          <a:p>
            <a:pPr marL="0" indent="0">
              <a:buNone/>
            </a:pPr>
            <a:endParaRPr lang="de-DE" sz="1500" dirty="0" smtClean="0"/>
          </a:p>
          <a:p>
            <a:pPr marL="0" indent="0">
              <a:buNone/>
            </a:pPr>
            <a:endParaRPr lang="de-DE" sz="1400" dirty="0"/>
          </a:p>
          <a:p>
            <a:endParaRPr lang="de-DE" sz="1400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266128" y="1149325"/>
            <a:ext cx="2304256" cy="5040560"/>
            <a:chOff x="266128" y="1149325"/>
            <a:chExt cx="2304256" cy="5040560"/>
          </a:xfrm>
        </p:grpSpPr>
        <p:grpSp>
          <p:nvGrpSpPr>
            <p:cNvPr id="23" name="Gruppieren 22"/>
            <p:cNvGrpSpPr/>
            <p:nvPr/>
          </p:nvGrpSpPr>
          <p:grpSpPr>
            <a:xfrm>
              <a:off x="266128" y="1149325"/>
              <a:ext cx="2304256" cy="5040560"/>
              <a:chOff x="266128" y="1149325"/>
              <a:chExt cx="2304256" cy="5040560"/>
            </a:xfrm>
          </p:grpSpPr>
          <p:grpSp>
            <p:nvGrpSpPr>
              <p:cNvPr id="26" name="Gruppieren 25"/>
              <p:cNvGrpSpPr/>
              <p:nvPr/>
            </p:nvGrpSpPr>
            <p:grpSpPr>
              <a:xfrm>
                <a:off x="266128" y="1149325"/>
                <a:ext cx="2304256" cy="5040560"/>
                <a:chOff x="274451" y="1062702"/>
                <a:chExt cx="2304256" cy="5040560"/>
              </a:xfrm>
            </p:grpSpPr>
            <p:grpSp>
              <p:nvGrpSpPr>
                <p:cNvPr id="28" name="Gruppieren 27"/>
                <p:cNvGrpSpPr/>
                <p:nvPr/>
              </p:nvGrpSpPr>
              <p:grpSpPr>
                <a:xfrm>
                  <a:off x="274451" y="1062702"/>
                  <a:ext cx="2304256" cy="5040560"/>
                  <a:chOff x="263352" y="1124744"/>
                  <a:chExt cx="2304256" cy="5040560"/>
                </a:xfrm>
              </p:grpSpPr>
              <p:sp>
                <p:nvSpPr>
                  <p:cNvPr id="30" name="Abgerundetes Rechteck 29"/>
                  <p:cNvSpPr/>
                  <p:nvPr/>
                </p:nvSpPr>
                <p:spPr>
                  <a:xfrm>
                    <a:off x="263352" y="1124744"/>
                    <a:ext cx="2304256" cy="5040560"/>
                  </a:xfrm>
                  <a:prstGeom prst="roundRect">
                    <a:avLst/>
                  </a:prstGeom>
                  <a:solidFill>
                    <a:srgbClr val="264D7F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endParaRPr lang="de-DE" dirty="0">
                      <a:solidFill>
                        <a:schemeClr val="bg1"/>
                      </a:solidFill>
                      <a:latin typeface="Lexend SemiBold (Headings)"/>
                    </a:endParaRPr>
                  </a:p>
                </p:txBody>
              </p:sp>
              <p:sp>
                <p:nvSpPr>
                  <p:cNvPr id="31" name="Abgerundetes Rechteck 30"/>
                  <p:cNvSpPr/>
                  <p:nvPr/>
                </p:nvSpPr>
                <p:spPr bwMode="auto">
                  <a:xfrm>
                    <a:off x="407970" y="3255163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b="1" dirty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Der </a:t>
                    </a:r>
                    <a:r>
                      <a:rPr lang="de-DE" sz="1400" b="1" dirty="0" smtClean="0">
                        <a:solidFill>
                          <a:schemeClr val="bg1"/>
                        </a:solidFill>
                        <a:latin typeface="Atkinson Hyperlegible" pitchFamily="2" charset="0"/>
                      </a:rPr>
                      <a:t>Hinterlegungs-prozess</a:t>
                    </a:r>
                    <a:endParaRPr lang="de-DE" sz="1400" b="1" dirty="0">
                      <a:solidFill>
                        <a:schemeClr val="bg1"/>
                      </a:solidFill>
                      <a:latin typeface="Atkinson Hyperlegible" pitchFamily="2" charset="0"/>
                    </a:endParaRPr>
                  </a:p>
                </p:txBody>
              </p:sp>
              <p:sp>
                <p:nvSpPr>
                  <p:cNvPr id="32" name="Abgerundetes Rechteck 31"/>
                  <p:cNvSpPr/>
                  <p:nvPr/>
                </p:nvSpPr>
                <p:spPr bwMode="auto">
                  <a:xfrm>
                    <a:off x="403391" y="1431181"/>
                    <a:ext cx="2016224" cy="720000"/>
                  </a:xfrm>
                  <a:prstGeom prst="roundRect">
                    <a:avLst/>
                  </a:prstGeom>
                  <a:solidFill>
                    <a:srgbClr val="EF7430"/>
                  </a:solidFill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r>
                      <a:rPr lang="de-DE" sz="1400" dirty="0">
                        <a:solidFill>
                          <a:schemeClr val="tx1"/>
                        </a:solidFill>
                        <a:latin typeface="Atkinson Hyperlegible" pitchFamily="2" charset="0"/>
                      </a:rPr>
                      <a:t>Warum den Schutz erhöhen?</a:t>
                    </a:r>
                  </a:p>
                </p:txBody>
              </p:sp>
            </p:grpSp>
            <p:sp>
              <p:nvSpPr>
                <p:cNvPr id="29" name="Abgerundetes Rechteck 28"/>
                <p:cNvSpPr/>
                <p:nvPr/>
              </p:nvSpPr>
              <p:spPr bwMode="auto">
                <a:xfrm>
                  <a:off x="414490" y="2281130"/>
                  <a:ext cx="2016224" cy="720000"/>
                </a:xfrm>
                <a:prstGeom prst="roundRect">
                  <a:avLst/>
                </a:prstGeom>
                <a:solidFill>
                  <a:srgbClr val="EF7430"/>
                </a:solidFill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r>
                    <a:rPr lang="de-DE" sz="1400" dirty="0">
                      <a:solidFill>
                        <a:schemeClr val="tx1"/>
                      </a:solidFill>
                      <a:latin typeface="Atkinson Hyperlegible" pitchFamily="2" charset="0"/>
                    </a:rPr>
                    <a:t>Wie wirkt </a:t>
                  </a:r>
                  <a:r>
                    <a:rPr lang="de-DE" sz="1400" dirty="0" smtClean="0">
                      <a:solidFill>
                        <a:schemeClr val="tx1"/>
                      </a:solidFill>
                      <a:latin typeface="Atkinson Hyperlegible" pitchFamily="2" charset="0"/>
                    </a:rPr>
                    <a:t>die MFA? </a:t>
                  </a:r>
                  <a:endParaRPr lang="de-DE" sz="1400" dirty="0">
                    <a:solidFill>
                      <a:schemeClr val="tx1"/>
                    </a:solidFill>
                    <a:latin typeface="Atkinson Hyperlegible" pitchFamily="2" charset="0"/>
                  </a:endParaRPr>
                </a:p>
              </p:txBody>
            </p:sp>
          </p:grpSp>
          <p:sp>
            <p:nvSpPr>
              <p:cNvPr id="27" name="Abgerundetes Rechteck 26"/>
              <p:cNvSpPr/>
              <p:nvPr/>
            </p:nvSpPr>
            <p:spPr bwMode="auto">
              <a:xfrm>
                <a:off x="410746" y="4191735"/>
                <a:ext cx="2016224" cy="720000"/>
              </a:xfrm>
              <a:prstGeom prst="roundRect">
                <a:avLst/>
              </a:prstGeom>
              <a:solidFill>
                <a:srgbClr val="EF7430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de-DE" sz="1400" dirty="0" smtClean="0">
                    <a:solidFill>
                      <a:schemeClr val="tx1"/>
                    </a:solidFill>
                    <a:latin typeface="Atkinson Hyperlegible" pitchFamily="2" charset="0"/>
                  </a:rPr>
                  <a:t>Einstellungen für das Kollegium</a:t>
                </a:r>
                <a:endParaRPr lang="de-DE" sz="1400" dirty="0">
                  <a:solidFill>
                    <a:schemeClr val="tx1"/>
                  </a:solidFill>
                  <a:latin typeface="Atkinson Hyperlegible" pitchFamily="2" charset="0"/>
                </a:endParaRPr>
              </a:p>
            </p:txBody>
          </p:sp>
        </p:grpSp>
        <p:sp>
          <p:nvSpPr>
            <p:cNvPr id="24" name="Abgerundetes Rechteck 23"/>
            <p:cNvSpPr/>
            <p:nvPr/>
          </p:nvSpPr>
          <p:spPr bwMode="auto">
            <a:xfrm>
              <a:off x="406167" y="5129978"/>
              <a:ext cx="2016224" cy="720000"/>
            </a:xfrm>
            <a:prstGeom prst="roundRect">
              <a:avLst/>
            </a:prstGeom>
            <a:solidFill>
              <a:srgbClr val="EF743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400" dirty="0">
                  <a:solidFill>
                    <a:schemeClr val="tx1"/>
                  </a:solidFill>
                  <a:latin typeface="Atkinson Hyperlegible" pitchFamily="2" charset="0"/>
                </a:rPr>
                <a:t>Was tun im Verlustfall?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25734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1.5.3.3511"/>
  <p:tag name="SLIDO_PRESENTATION_ID" val="00000000-0000-0000-0000-000000000000"/>
  <p:tag name="SLIDO_EVENT_UUID" val="edee39fc-88d9-4af3-ae32-9239667dd4e1"/>
  <p:tag name="SLIDO_EVENT_SECTION_UUID" val="7a0d3a60-6a92-4ae5-a78e-991b31f57de3"/>
</p:tagLst>
</file>

<file path=ppt/theme/theme1.xml><?xml version="1.0" encoding="utf-8"?>
<a:theme xmlns:a="http://schemas.openxmlformats.org/drawingml/2006/main" name="1_Offic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Office">
        <a:dk1>
          <a:sysClr val="windowText" lastClr="000000"/>
        </a:dk1>
        <a:lt1>
          <a:sysClr val="window" lastClr="FFFFFF"/>
        </a:lt1>
        <a:dk2>
          <a:srgbClr val="44546A"/>
        </a:dk2>
        <a:lt2>
          <a:srgbClr val="E7E6E6"/>
        </a:lt2>
        <a:accent1>
          <a:srgbClr val="5B9BD5"/>
        </a:accent1>
        <a:accent2>
          <a:srgbClr val="ED7D31"/>
        </a:accent2>
        <a:accent3>
          <a:srgbClr val="A5A5A5"/>
        </a:accent3>
        <a:accent4>
          <a:srgbClr val="FFC000"/>
        </a:accent4>
        <a:accent5>
          <a:srgbClr val="4472C4"/>
        </a:accent5>
        <a:accent6>
          <a:srgbClr val="70AD47"/>
        </a:accent6>
        <a:hlink>
          <a:srgbClr val="0563C1"/>
        </a:hlink>
        <a:folHlink>
          <a:srgbClr val="954F72"/>
        </a:folHlink>
      </a:clrScheme>
    </a:extraClrScheme>
  </a:extraClrScheme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018</Words>
  <Application>Microsoft Office PowerPoint</Application>
  <DocSecurity>0</DocSecurity>
  <PresentationFormat>Breitbild</PresentationFormat>
  <Paragraphs>225</Paragraphs>
  <Slides>1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2" baseType="lpstr">
      <vt:lpstr>Arial</vt:lpstr>
      <vt:lpstr>Atkinson Hyperlegible</vt:lpstr>
      <vt:lpstr>Atkinson Hyperlegible (Body)</vt:lpstr>
      <vt:lpstr>Calibri</vt:lpstr>
      <vt:lpstr>Lexend SemiBold (Headings)</vt:lpstr>
      <vt:lpstr>1_Office</vt:lpstr>
      <vt:lpstr>oleObj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>BAYKM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SD-ASV-KoA</dc:title>
  <dc:subject/>
  <dc:creator>Halbhuber_W</dc:creator>
  <cp:keywords/>
  <dc:description/>
  <cp:lastModifiedBy>Borelli, Angelo</cp:lastModifiedBy>
  <cp:revision>2204</cp:revision>
  <dcterms:created xsi:type="dcterms:W3CDTF">2008-07-11T14:39:46Z</dcterms:created>
  <dcterms:modified xsi:type="dcterms:W3CDTF">2024-10-29T12:10:33Z</dcterms:modified>
  <cp:category/>
  <dc:identifier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SC#CFGBAYERN@15.1400:ProcAddSubjNumber">
    <vt:lpwstr/>
  </property>
  <property fmtid="{D5CDD505-2E9C-101B-9397-08002B2CF9AE}" pid="3" name="FSC#CFGBAYERN@15.1400:BankDetailsIDOwnerGroup">
    <vt:lpwstr/>
  </property>
  <property fmtid="{D5CDD505-2E9C-101B-9397-08002B2CF9AE}" pid="4" name="FSC#CFGBAYERN@15.1400:BankDetailsIDOwner">
    <vt:lpwstr/>
  </property>
  <property fmtid="{D5CDD505-2E9C-101B-9397-08002B2CF9AE}" pid="5" name="FSC#CFGBAYERN@15.1400:BankDetailsOwnerGroup">
    <vt:lpwstr/>
  </property>
  <property fmtid="{D5CDD505-2E9C-101B-9397-08002B2CF9AE}" pid="6" name="FSC#CFGBAYERN@15.1400:BankDetailsOwner">
    <vt:lpwstr/>
  </property>
  <property fmtid="{D5CDD505-2E9C-101B-9397-08002B2CF9AE}" pid="7" name="FSC#CFGBAYERN@15.1400:DocumentFileUrgency">
    <vt:lpwstr/>
  </property>
  <property fmtid="{D5CDD505-2E9C-101B-9397-08002B2CF9AE}" pid="8" name="FSC#CFGBAYERN@15.1400:IncAttachments">
    <vt:lpwstr/>
  </property>
  <property fmtid="{D5CDD505-2E9C-101B-9397-08002B2CF9AE}" pid="9" name="FSC#CFGBAYERN@15.1400:VisitingHoursOwnerGroup">
    <vt:lpwstr/>
  </property>
  <property fmtid="{D5CDD505-2E9C-101B-9397-08002B2CF9AE}" pid="10" name="FSC#CFGBAYERN@15.1400:DocumentFileSubject">
    <vt:lpwstr/>
  </property>
  <property fmtid="{D5CDD505-2E9C-101B-9397-08002B2CF9AE}" pid="11" name="FSC#CFGBAYERN@15.1400:FileSubject">
    <vt:lpwstr/>
  </property>
  <property fmtid="{D5CDD505-2E9C-101B-9397-08002B2CF9AE}" pid="12" name="FSC#CFGBAYERN@15.1400:BankDetailsBICOwnerGroup">
    <vt:lpwstr/>
  </property>
  <property fmtid="{D5CDD505-2E9C-101B-9397-08002B2CF9AE}" pid="13" name="FSC#CFGBAYERN@15.1400:BankDetailsBICOwner">
    <vt:lpwstr/>
  </property>
  <property fmtid="{D5CDD505-2E9C-101B-9397-08002B2CF9AE}" pid="14" name="FSC#CFGBAYERN@15.1400:AddrDate">
    <vt:lpwstr/>
  </property>
  <property fmtid="{D5CDD505-2E9C-101B-9397-08002B2CF9AE}" pid="15" name="FSC#CFGBAYERN@15.1400:OwnerGroupOfficeBuilding">
    <vt:lpwstr/>
  </property>
  <property fmtid="{D5CDD505-2E9C-101B-9397-08002B2CF9AE}" pid="16" name="FSC#CFGBAYERN@15.1400:OwnerOfficeBuilding">
    <vt:lpwstr/>
  </property>
  <property fmtid="{D5CDD505-2E9C-101B-9397-08002B2CF9AE}" pid="17" name="FSC#CFGBAYERN@15.1400:OwnerName">
    <vt:lpwstr/>
  </property>
  <property fmtid="{D5CDD505-2E9C-101B-9397-08002B2CF9AE}" pid="18" name="FSC#CFGBAYERN@15.1400:OwnerFunction">
    <vt:lpwstr/>
  </property>
  <property fmtid="{D5CDD505-2E9C-101B-9397-08002B2CF9AE}" pid="19" name="FSC#CFGBAYERN@15.1400:OwnerGender">
    <vt:lpwstr/>
  </property>
  <property fmtid="{D5CDD505-2E9C-101B-9397-08002B2CF9AE}" pid="20" name="FSC#CFGBAYERN@15.1400:OwnerJobTitle">
    <vt:lpwstr/>
  </property>
  <property fmtid="{D5CDD505-2E9C-101B-9397-08002B2CF9AE}" pid="21" name="FSC#CFGBAYERN@15.1400:OwnerSurName">
    <vt:lpwstr/>
  </property>
  <property fmtid="{D5CDD505-2E9C-101B-9397-08002B2CF9AE}" pid="22" name="FSC#CFGBAYERN@15.1400:OwnerNameAffix">
    <vt:lpwstr/>
  </property>
  <property fmtid="{D5CDD505-2E9C-101B-9397-08002B2CF9AE}" pid="23" name="FSC#CFGBAYERN@15.1400:OwnerTitle">
    <vt:lpwstr/>
  </property>
  <property fmtid="{D5CDD505-2E9C-101B-9397-08002B2CF9AE}" pid="24" name="FSC#CFGBAYERN@15.1400:OwnerFirstName">
    <vt:lpwstr/>
  </property>
  <property fmtid="{D5CDD505-2E9C-101B-9397-08002B2CF9AE}" pid="25" name="FSC#CFGBAYERN@15.1400:OwnerAdditional1">
    <vt:lpwstr/>
  </property>
  <property fmtid="{D5CDD505-2E9C-101B-9397-08002B2CF9AE}" pid="26" name="FSC#CFGBAYERN@15.1400:OwnerAdditional2">
    <vt:lpwstr/>
  </property>
  <property fmtid="{D5CDD505-2E9C-101B-9397-08002B2CF9AE}" pid="27" name="FSC#CFGBAYERN@15.1400:OwnerAdditional3">
    <vt:lpwstr/>
  </property>
  <property fmtid="{D5CDD505-2E9C-101B-9397-08002B2CF9AE}" pid="28" name="FSC#CFGBAYERN@15.1400:OwnerAdditional4">
    <vt:lpwstr/>
  </property>
  <property fmtid="{D5CDD505-2E9C-101B-9397-08002B2CF9AE}" pid="29" name="FSC#CFGBAYERN@15.1400:OwnerAdditional5">
    <vt:lpwstr/>
  </property>
  <property fmtid="{D5CDD505-2E9C-101B-9397-08002B2CF9AE}" pid="30" name="FSC#CFGBAYERN@15.1400:EmailOwnerGroup">
    <vt:lpwstr/>
  </property>
  <property fmtid="{D5CDD505-2E9C-101B-9397-08002B2CF9AE}" pid="31" name="FSC#CFGBAYERN@15.1400:EmailOwner">
    <vt:lpwstr/>
  </property>
  <property fmtid="{D5CDD505-2E9C-101B-9397-08002B2CF9AE}" pid="32" name="FSC#CFGBAYERN@15.1400:Recipients">
    <vt:lpwstr/>
  </property>
  <property fmtid="{D5CDD505-2E9C-101B-9397-08002B2CF9AE}" pid="33" name="FSC#CFGBAYERN@15.1400:RecipientsBlocked">
    <vt:lpwstr/>
  </property>
  <property fmtid="{D5CDD505-2E9C-101B-9397-08002B2CF9AE}" pid="34" name="FSC#CFGBAYERN@15.1400:FaxNumberOwnerGroup">
    <vt:lpwstr/>
  </property>
  <property fmtid="{D5CDD505-2E9C-101B-9397-08002B2CF9AE}" pid="35" name="FSC#CFGBAYERN@15.1400:FaxNumberOwner">
    <vt:lpwstr/>
  </property>
  <property fmtid="{D5CDD505-2E9C-101B-9397-08002B2CF9AE}" pid="36" name="FSC#CFGBAYERN@15.1400:ForeignNr">
    <vt:lpwstr/>
  </property>
  <property fmtid="{D5CDD505-2E9C-101B-9397-08002B2CF9AE}" pid="37" name="FSC#CFGBAYERN@15.1400:DocumentName">
    <vt:lpwstr/>
  </property>
  <property fmtid="{D5CDD505-2E9C-101B-9397-08002B2CF9AE}" pid="38" name="FSC#CFGBAYERN@15.1400:BankDetailsIBANOwnerGroup">
    <vt:lpwstr/>
  </property>
  <property fmtid="{D5CDD505-2E9C-101B-9397-08002B2CF9AE}" pid="39" name="FSC#CFGBAYERN@15.1400:BankDetailsIBANOwner">
    <vt:lpwstr/>
  </property>
  <property fmtid="{D5CDD505-2E9C-101B-9397-08002B2CF9AE}" pid="40" name="FSC#CFGBAYERN@15.1400:BankDetailsNameOwnerGroup">
    <vt:lpwstr/>
  </property>
  <property fmtid="{D5CDD505-2E9C-101B-9397-08002B2CF9AE}" pid="41" name="FSC#CFGBAYERN@15.1400:BankDetailsNameOwner">
    <vt:lpwstr/>
  </property>
  <property fmtid="{D5CDD505-2E9C-101B-9397-08002B2CF9AE}" pid="42" name="FSC#CFGBAYERN@15.1400:BankDetailsOwnerOwnerGroup">
    <vt:lpwstr/>
  </property>
  <property fmtid="{D5CDD505-2E9C-101B-9397-08002B2CF9AE}" pid="43" name="FSC#CFGBAYERN@15.1400:BankDetailsOwnerOwner">
    <vt:lpwstr/>
  </property>
  <property fmtid="{D5CDD505-2E9C-101B-9397-08002B2CF9AE}" pid="44" name="FSC#CFGBAYERN@15.1400:BankDetailsAccountOwnerGroup">
    <vt:lpwstr/>
  </property>
  <property fmtid="{D5CDD505-2E9C-101B-9397-08002B2CF9AE}" pid="45" name="FSC#CFGBAYERN@15.1400:BankDetailsAccountOwner">
    <vt:lpwstr/>
  </property>
  <property fmtid="{D5CDD505-2E9C-101B-9397-08002B2CF9AE}" pid="46" name="FSC#CFGBAYERN@15.1400:CopyRecipients">
    <vt:lpwstr/>
  </property>
  <property fmtid="{D5CDD505-2E9C-101B-9397-08002B2CF9AE}" pid="47" name="FSC#CFGBAYERN@15.1400:CopyRecipientsBlocked">
    <vt:lpwstr/>
  </property>
  <property fmtid="{D5CDD505-2E9C-101B-9397-08002B2CF9AE}" pid="48" name="FSC#CFGBAYERN@15.1400:OrganizationOwnerGroup">
    <vt:lpwstr/>
  </property>
  <property fmtid="{D5CDD505-2E9C-101B-9397-08002B2CF9AE}" pid="49" name="FSC#CFGBAYERN@15.1400:SignFinalVersionByJobTitle">
    <vt:lpwstr/>
  </property>
  <property fmtid="{D5CDD505-2E9C-101B-9397-08002B2CF9AE}" pid="50" name="FSC#CFGBAYERN@15.1400:SignFinalVersionByFunction">
    <vt:lpwstr/>
  </property>
  <property fmtid="{D5CDD505-2E9C-101B-9397-08002B2CF9AE}" pid="51" name="FSC#CFGBAYERN@15.1400:SignFinalVersionBySurname">
    <vt:lpwstr/>
  </property>
  <property fmtid="{D5CDD505-2E9C-101B-9397-08002B2CF9AE}" pid="52" name="FSC#CFGBAYERN@15.1400:SignFinalVersionByNameAffix">
    <vt:lpwstr/>
  </property>
  <property fmtid="{D5CDD505-2E9C-101B-9397-08002B2CF9AE}" pid="53" name="FSC#CFGBAYERN@15.1400:SignFinalVersionByTitle">
    <vt:lpwstr/>
  </property>
  <property fmtid="{D5CDD505-2E9C-101B-9397-08002B2CF9AE}" pid="54" name="FSC#CFGBAYERN@15.1400:SignFinalVersionByFirstname">
    <vt:lpwstr/>
  </property>
  <property fmtid="{D5CDD505-2E9C-101B-9397-08002B2CF9AE}" pid="55" name="FSC#CFGBAYERN@15.1400:SignApprovedByJobTitle">
    <vt:lpwstr/>
  </property>
  <property fmtid="{D5CDD505-2E9C-101B-9397-08002B2CF9AE}" pid="56" name="FSC#CFGBAYERN@15.1400:SignApprovedByFunction">
    <vt:lpwstr/>
  </property>
  <property fmtid="{D5CDD505-2E9C-101B-9397-08002B2CF9AE}" pid="57" name="FSC#CFGBAYERN@15.1400:SignApprovedBySurname">
    <vt:lpwstr/>
  </property>
  <property fmtid="{D5CDD505-2E9C-101B-9397-08002B2CF9AE}" pid="58" name="FSC#CFGBAYERN@15.1400:SignApprovedByNameAffix">
    <vt:lpwstr/>
  </property>
  <property fmtid="{D5CDD505-2E9C-101B-9397-08002B2CF9AE}" pid="59" name="FSC#CFGBAYERN@15.1400:SignApprovedByTitle">
    <vt:lpwstr/>
  </property>
  <property fmtid="{D5CDD505-2E9C-101B-9397-08002B2CF9AE}" pid="60" name="FSC#CFGBAYERN@15.1400:SignApprovedByFirstname">
    <vt:lpwstr/>
  </property>
  <property fmtid="{D5CDD505-2E9C-101B-9397-08002B2CF9AE}" pid="61" name="FSC#CFGBAYERN@15.1400:SignApprovedAt">
    <vt:lpwstr/>
  </property>
  <property fmtid="{D5CDD505-2E9C-101B-9397-08002B2CF9AE}" pid="62" name="FSC#CFGBAYERN@15.1400:SignAcceptDraftByJobTitle">
    <vt:lpwstr/>
  </property>
  <property fmtid="{D5CDD505-2E9C-101B-9397-08002B2CF9AE}" pid="63" name="FSC#CFGBAYERN@15.1400:SignAcceptDraftByFunction">
    <vt:lpwstr/>
  </property>
  <property fmtid="{D5CDD505-2E9C-101B-9397-08002B2CF9AE}" pid="64" name="FSC#CFGBAYERN@15.1400:SignAcceptDraftBySurname">
    <vt:lpwstr/>
  </property>
  <property fmtid="{D5CDD505-2E9C-101B-9397-08002B2CF9AE}" pid="65" name="FSC#CFGBAYERN@15.1400:SignAcceptDraftByNameAffix">
    <vt:lpwstr/>
  </property>
  <property fmtid="{D5CDD505-2E9C-101B-9397-08002B2CF9AE}" pid="66" name="FSC#CFGBAYERN@15.1400:SignAcceptDraftByTitle">
    <vt:lpwstr/>
  </property>
  <property fmtid="{D5CDD505-2E9C-101B-9397-08002B2CF9AE}" pid="67" name="FSC#CFGBAYERN@15.1400:SignAcceptDraftByFirstname">
    <vt:lpwstr/>
  </property>
  <property fmtid="{D5CDD505-2E9C-101B-9397-08002B2CF9AE}" pid="68" name="FSC#CFGBAYERN@15.1400:SignAcceptDraftAt">
    <vt:lpwstr/>
  </property>
  <property fmtid="{D5CDD505-2E9C-101B-9397-08002B2CF9AE}" pid="69" name="FSC#CFGBAYERN@15.1400:SignViewedByJobTitle">
    <vt:lpwstr/>
  </property>
  <property fmtid="{D5CDD505-2E9C-101B-9397-08002B2CF9AE}" pid="70" name="FSC#CFGBAYERN@15.1400:SignViewedByFunction">
    <vt:lpwstr/>
  </property>
  <property fmtid="{D5CDD505-2E9C-101B-9397-08002B2CF9AE}" pid="71" name="FSC#CFGBAYERN@15.1400:SignViewedBySurname">
    <vt:lpwstr/>
  </property>
  <property fmtid="{D5CDD505-2E9C-101B-9397-08002B2CF9AE}" pid="72" name="FSC#CFGBAYERN@15.1400:SignViewedByNameAffix">
    <vt:lpwstr/>
  </property>
  <property fmtid="{D5CDD505-2E9C-101B-9397-08002B2CF9AE}" pid="73" name="FSC#CFGBAYERN@15.1400:SignViewedByTitle">
    <vt:lpwstr/>
  </property>
  <property fmtid="{D5CDD505-2E9C-101B-9397-08002B2CF9AE}" pid="74" name="FSC#CFGBAYERN@15.1400:SignViewedByFirstname">
    <vt:lpwstr/>
  </property>
  <property fmtid="{D5CDD505-2E9C-101B-9397-08002B2CF9AE}" pid="75" name="FSC#CFGBAYERN@15.1400:SignViewedAt">
    <vt:lpwstr/>
  </property>
  <property fmtid="{D5CDD505-2E9C-101B-9397-08002B2CF9AE}" pid="76" name="FSC#CFGBAYERN@15.1400:TelNumberOwnerGroup">
    <vt:lpwstr/>
  </property>
  <property fmtid="{D5CDD505-2E9C-101B-9397-08002B2CF9AE}" pid="77" name="FSC#CFGBAYERN@15.1400:TelNumberOwner">
    <vt:lpwstr/>
  </property>
  <property fmtid="{D5CDD505-2E9C-101B-9397-08002B2CF9AE}" pid="78" name="FSC#CFGBAYERN@15.1400:TelNumberOwnerMobile">
    <vt:lpwstr/>
  </property>
  <property fmtid="{D5CDD505-2E9C-101B-9397-08002B2CF9AE}" pid="79" name="FSC#CFGBAYERN@15.1400:TelNumberOwnerPrivate">
    <vt:lpwstr/>
  </property>
  <property fmtid="{D5CDD505-2E9C-101B-9397-08002B2CF9AE}" pid="80" name="FSC#CFGBAYERN@15.1400:ReferredIncomingLetterDate">
    <vt:lpwstr/>
  </property>
  <property fmtid="{D5CDD505-2E9C-101B-9397-08002B2CF9AE}" pid="81" name="FSC#CFGBAYERN@15.1400:RefIerredncomingForeignNr">
    <vt:lpwstr/>
  </property>
  <property fmtid="{D5CDD505-2E9C-101B-9397-08002B2CF9AE}" pid="82" name="FSC#CFGBAYERN@15.1400:ReferredIncomingFileReference">
    <vt:lpwstr/>
  </property>
  <property fmtid="{D5CDD505-2E9C-101B-9397-08002B2CF9AE}" pid="83" name="FSC#CFGBAYERN@15.1400:SettlementLetterDate">
    <vt:lpwstr/>
  </property>
  <property fmtid="{D5CDD505-2E9C-101B-9397-08002B2CF9AE}" pid="84" name="FSC#CFGBAYERN@15.1400:URLOwnerGroup">
    <vt:lpwstr/>
  </property>
  <property fmtid="{D5CDD505-2E9C-101B-9397-08002B2CF9AE}" pid="85" name="FSC#CFGBAYERN@15.1400:TransportConnectionOwnerGroup">
    <vt:lpwstr/>
  </property>
  <property fmtid="{D5CDD505-2E9C-101B-9397-08002B2CF9AE}" pid="86" name="FSC#CFGBAYERN@15.1400:OwnerRoomNumber">
    <vt:lpwstr/>
  </property>
  <property fmtid="{D5CDD505-2E9C-101B-9397-08002B2CF9AE}" pid="87" name="FSC#CFGBAYERNEX@15.1800:ProcedureFileReference">
    <vt:lpwstr/>
  </property>
  <property fmtid="{D5CDD505-2E9C-101B-9397-08002B2CF9AE}" pid="88" name="FSC#CFGBAYERNEX@15.1800:OwnerSalutationFromGender">
    <vt:lpwstr/>
  </property>
  <property fmtid="{D5CDD505-2E9C-101B-9397-08002B2CF9AE}" pid="89" name="FSC#CFGBAYERNEX@15.1800:SignFinalVersionBy">
    <vt:lpwstr/>
  </property>
  <property fmtid="{D5CDD505-2E9C-101B-9397-08002B2CF9AE}" pid="90" name="FSC#CFGBAYERN@15.1400:SubjectAreaShortTerm">
    <vt:lpwstr/>
  </property>
  <property fmtid="{D5CDD505-2E9C-101B-9397-08002B2CF9AE}" pid="91" name="FSC#CFGBAYERN@15.1400:ProcedureBarCode">
    <vt:lpwstr/>
  </property>
  <property fmtid="{D5CDD505-2E9C-101B-9397-08002B2CF9AE}" pid="92" name="FSC#CFGBAYERN@15.1400:ProcedureCreatedOnAt">
    <vt:lpwstr/>
  </property>
  <property fmtid="{D5CDD505-2E9C-101B-9397-08002B2CF9AE}" pid="93" name="FSC#CFGBAYERN@15.1400:CurrentDateTime">
    <vt:lpwstr>20.07.2021 15:48:39</vt:lpwstr>
  </property>
  <property fmtid="{D5CDD505-2E9C-101B-9397-08002B2CF9AE}" pid="94" name="FSC#CFGBAYERN@15.1400:RelatedReferencesSettlement">
    <vt:lpwstr/>
  </property>
  <property fmtid="{D5CDD505-2E9C-101B-9397-08002B2CF9AE}" pid="95" name="FSC#CFGBAYERN@15.1400:AssociatedProcedureTitle">
    <vt:lpwstr/>
  </property>
  <property fmtid="{D5CDD505-2E9C-101B-9397-08002B2CF9AE}" pid="96" name="FSC#CFGBAYERN@15.1400:SettlementTitle">
    <vt:lpwstr/>
  </property>
  <property fmtid="{D5CDD505-2E9C-101B-9397-08002B2CF9AE}" pid="97" name="FSC#CFGBAYERN@15.1400:IncomingTitle">
    <vt:lpwstr/>
  </property>
  <property fmtid="{D5CDD505-2E9C-101B-9397-08002B2CF9AE}" pid="98" name="FSC#CFGBAYERN@15.1400:RespoeLongName">
    <vt:lpwstr/>
  </property>
  <property fmtid="{D5CDD505-2E9C-101B-9397-08002B2CF9AE}" pid="99" name="FSC#CFGBAYERN@15.1400:RespoeShortName">
    <vt:lpwstr/>
  </property>
  <property fmtid="{D5CDD505-2E9C-101B-9397-08002B2CF9AE}" pid="100" name="FSC#CFGBAYERN@15.1400:RespoeOUSign">
    <vt:lpwstr/>
  </property>
  <property fmtid="{D5CDD505-2E9C-101B-9397-08002B2CF9AE}" pid="101" name="FSC#CFGBAYERN@15.1400:RespoeOrgStreet">
    <vt:lpwstr/>
  </property>
  <property fmtid="{D5CDD505-2E9C-101B-9397-08002B2CF9AE}" pid="102" name="FSC#CFGBAYERN@15.1400:RespoeOrgPobox">
    <vt:lpwstr/>
  </property>
  <property fmtid="{D5CDD505-2E9C-101B-9397-08002B2CF9AE}" pid="103" name="FSC#CFGBAYERN@15.1400:RespoeOrgZipcode">
    <vt:lpwstr/>
  </property>
  <property fmtid="{D5CDD505-2E9C-101B-9397-08002B2CF9AE}" pid="104" name="FSC#CFGBAYERN@15.1400:RespoeOrgCity">
    <vt:lpwstr/>
  </property>
  <property fmtid="{D5CDD505-2E9C-101B-9397-08002B2CF9AE}" pid="105" name="FSC#CFGBAYERN@15.1400:RespoeOrgState">
    <vt:lpwstr/>
  </property>
  <property fmtid="{D5CDD505-2E9C-101B-9397-08002B2CF9AE}" pid="106" name="FSC#CFGBAYERN@15.1400:RespoeOrgCountry">
    <vt:lpwstr/>
  </property>
  <property fmtid="{D5CDD505-2E9C-101B-9397-08002B2CF9AE}" pid="107" name="FSC#CFGBAYERN@15.1400:RespoeOrgDesc">
    <vt:lpwstr/>
  </property>
  <property fmtid="{D5CDD505-2E9C-101B-9397-08002B2CF9AE}" pid="108" name="FSC#CFGBAYERN@15.1400:RespoeOrgName">
    <vt:lpwstr/>
  </property>
  <property fmtid="{D5CDD505-2E9C-101B-9397-08002B2CF9AE}" pid="109" name="FSC#CFGBAYERN@15.1400:RespoeOrgAdditional1">
    <vt:lpwstr/>
  </property>
  <property fmtid="{D5CDD505-2E9C-101B-9397-08002B2CF9AE}" pid="110" name="FSC#CFGBAYERN@15.1400:RespoeOrgAdditional2">
    <vt:lpwstr/>
  </property>
  <property fmtid="{D5CDD505-2E9C-101B-9397-08002B2CF9AE}" pid="111" name="FSC#CFGBAYERN@15.1400:RespoeOrgAdditional3">
    <vt:lpwstr/>
  </property>
  <property fmtid="{D5CDD505-2E9C-101B-9397-08002B2CF9AE}" pid="112" name="FSC#CFGBAYERN@15.1400:RespoeOrgAdditional4">
    <vt:lpwstr/>
  </property>
  <property fmtid="{D5CDD505-2E9C-101B-9397-08002B2CF9AE}" pid="113" name="FSC#CFGBAYERN@15.1400:RespoeOrgAdditional5">
    <vt:lpwstr/>
  </property>
  <property fmtid="{D5CDD505-2E9C-101B-9397-08002B2CF9AE}" pid="114" name="FSC#CFGBAYERN@15.1400:RespoeOrgShortName">
    <vt:lpwstr/>
  </property>
  <property fmtid="{D5CDD505-2E9C-101B-9397-08002B2CF9AE}" pid="115" name="FSC#CFGBAYERN@15.1400:RespoeOrgNameAffix">
    <vt:lpwstr/>
  </property>
  <property fmtid="{D5CDD505-2E9C-101B-9397-08002B2CF9AE}" pid="116" name="FSC#CFGBAYERN@15.1400:SignSignByJobTitle">
    <vt:lpwstr/>
  </property>
  <property fmtid="{D5CDD505-2E9C-101B-9397-08002B2CF9AE}" pid="117" name="FSC#CFGBAYERN@15.1400:SignSignByFunction">
    <vt:lpwstr/>
  </property>
  <property fmtid="{D5CDD505-2E9C-101B-9397-08002B2CF9AE}" pid="118" name="FSC#CFGBAYERN@15.1400:SignSignBySurname">
    <vt:lpwstr/>
  </property>
  <property fmtid="{D5CDD505-2E9C-101B-9397-08002B2CF9AE}" pid="119" name="FSC#CFGBAYERN@15.1400:SignSignByNameAffix">
    <vt:lpwstr/>
  </property>
  <property fmtid="{D5CDD505-2E9C-101B-9397-08002B2CF9AE}" pid="120" name="FSC#CFGBAYERN@15.1400:SignSignByTitle">
    <vt:lpwstr/>
  </property>
  <property fmtid="{D5CDD505-2E9C-101B-9397-08002B2CF9AE}" pid="121" name="FSC#CFGBAYERN@15.1400:SignSignByFirstname">
    <vt:lpwstr/>
  </property>
  <property fmtid="{D5CDD505-2E9C-101B-9397-08002B2CF9AE}" pid="122" name="FSC#CFGBAYERN@15.1400:SignSignAt">
    <vt:lpwstr/>
  </property>
  <property fmtid="{D5CDD505-2E9C-101B-9397-08002B2CF9AE}" pid="123" name="FSC#COOELAK@1.1001:Subject">
    <vt:lpwstr/>
  </property>
  <property fmtid="{D5CDD505-2E9C-101B-9397-08002B2CF9AE}" pid="124" name="FSC#COOELAK@1.1001:FileReference">
    <vt:lpwstr/>
  </property>
  <property fmtid="{D5CDD505-2E9C-101B-9397-08002B2CF9AE}" pid="125" name="FSC#COOELAK@1.1001:FileRefYear">
    <vt:lpwstr/>
  </property>
  <property fmtid="{D5CDD505-2E9C-101B-9397-08002B2CF9AE}" pid="126" name="FSC#COOELAK@1.1001:FileRefOrdinal">
    <vt:lpwstr/>
  </property>
  <property fmtid="{D5CDD505-2E9C-101B-9397-08002B2CF9AE}" pid="127" name="FSC#COOELAK@1.1001:FileRefOU">
    <vt:lpwstr/>
  </property>
  <property fmtid="{D5CDD505-2E9C-101B-9397-08002B2CF9AE}" pid="128" name="FSC#COOELAK@1.1001:Organization">
    <vt:lpwstr/>
  </property>
  <property fmtid="{D5CDD505-2E9C-101B-9397-08002B2CF9AE}" pid="129" name="FSC#COOELAK@1.1001:Owner">
    <vt:lpwstr>Frau Müller</vt:lpwstr>
  </property>
  <property fmtid="{D5CDD505-2E9C-101B-9397-08002B2CF9AE}" pid="130" name="FSC#COOELAK@1.1001:OwnerExtension">
    <vt:lpwstr>1603</vt:lpwstr>
  </property>
  <property fmtid="{D5CDD505-2E9C-101B-9397-08002B2CF9AE}" pid="131" name="FSC#COOELAK@1.1001:OwnerFaxExtension">
    <vt:lpwstr/>
  </property>
  <property fmtid="{D5CDD505-2E9C-101B-9397-08002B2CF9AE}" pid="132" name="FSC#COOELAK@1.1001:DispatchedBy">
    <vt:lpwstr/>
  </property>
  <property fmtid="{D5CDD505-2E9C-101B-9397-08002B2CF9AE}" pid="133" name="FSC#COOELAK@1.1001:DispatchedAt">
    <vt:lpwstr/>
  </property>
  <property fmtid="{D5CDD505-2E9C-101B-9397-08002B2CF9AE}" pid="134" name="FSC#COOELAK@1.1001:ApprovedBy">
    <vt:lpwstr/>
  </property>
  <property fmtid="{D5CDD505-2E9C-101B-9397-08002B2CF9AE}" pid="135" name="FSC#COOELAK@1.1001:ApprovedAt">
    <vt:lpwstr/>
  </property>
  <property fmtid="{D5CDD505-2E9C-101B-9397-08002B2CF9AE}" pid="136" name="FSC#COOELAK@1.1001:Department">
    <vt:lpwstr>I.4 (Referat I.4 (StMUK))</vt:lpwstr>
  </property>
  <property fmtid="{D5CDD505-2E9C-101B-9397-08002B2CF9AE}" pid="137" name="FSC#COOELAK@1.1001:CreatedAt">
    <vt:lpwstr>01.07.2021</vt:lpwstr>
  </property>
  <property fmtid="{D5CDD505-2E9C-101B-9397-08002B2CF9AE}" pid="138" name="FSC#COOELAK@1.1001:OU">
    <vt:lpwstr>I.3 (Referat I.3 (StMUK))</vt:lpwstr>
  </property>
  <property fmtid="{D5CDD505-2E9C-101B-9397-08002B2CF9AE}" pid="139" name="FSC#COOELAK@1.1001:Priority">
    <vt:lpwstr/>
  </property>
  <property fmtid="{D5CDD505-2E9C-101B-9397-08002B2CF9AE}" pid="140" name="FSC#COOELAK@1.1001:ObjBarCode">
    <vt:lpwstr>*COO.4001.106.5.9740969*</vt:lpwstr>
  </property>
  <property fmtid="{D5CDD505-2E9C-101B-9397-08002B2CF9AE}" pid="141" name="FSC#COOELAK@1.1001:RefBarCode">
    <vt:lpwstr/>
  </property>
  <property fmtid="{D5CDD505-2E9C-101B-9397-08002B2CF9AE}" pid="142" name="FSC#COOELAK@1.1001:FileRefBarCode">
    <vt:lpwstr>**</vt:lpwstr>
  </property>
  <property fmtid="{D5CDD505-2E9C-101B-9397-08002B2CF9AE}" pid="143" name="FSC#COOELAK@1.1001:ExternalRef">
    <vt:lpwstr/>
  </property>
  <property fmtid="{D5CDD505-2E9C-101B-9397-08002B2CF9AE}" pid="144" name="FSC#COOELAK@1.1001:IncomingNumber">
    <vt:lpwstr/>
  </property>
  <property fmtid="{D5CDD505-2E9C-101B-9397-08002B2CF9AE}" pid="145" name="FSC#COOELAK@1.1001:IncomingSubject">
    <vt:lpwstr/>
  </property>
  <property fmtid="{D5CDD505-2E9C-101B-9397-08002B2CF9AE}" pid="146" name="FSC#COOELAK@1.1001:ProcessResponsible">
    <vt:lpwstr/>
  </property>
  <property fmtid="{D5CDD505-2E9C-101B-9397-08002B2CF9AE}" pid="147" name="FSC#COOELAK@1.1001:ProcessResponsiblePhone">
    <vt:lpwstr/>
  </property>
  <property fmtid="{D5CDD505-2E9C-101B-9397-08002B2CF9AE}" pid="148" name="FSC#COOELAK@1.1001:ProcessResponsibleMail">
    <vt:lpwstr/>
  </property>
  <property fmtid="{D5CDD505-2E9C-101B-9397-08002B2CF9AE}" pid="149" name="FSC#COOELAK@1.1001:ProcessResponsibleFax">
    <vt:lpwstr/>
  </property>
  <property fmtid="{D5CDD505-2E9C-101B-9397-08002B2CF9AE}" pid="150" name="FSC#COOELAK@1.1001:ApproverFirstName">
    <vt:lpwstr/>
  </property>
  <property fmtid="{D5CDD505-2E9C-101B-9397-08002B2CF9AE}" pid="151" name="FSC#COOELAK@1.1001:ApproverSurName">
    <vt:lpwstr/>
  </property>
  <property fmtid="{D5CDD505-2E9C-101B-9397-08002B2CF9AE}" pid="152" name="FSC#COOELAK@1.1001:ApproverTitle">
    <vt:lpwstr/>
  </property>
  <property fmtid="{D5CDD505-2E9C-101B-9397-08002B2CF9AE}" pid="153" name="FSC#COOELAK@1.1001:ExternalDate">
    <vt:lpwstr/>
  </property>
  <property fmtid="{D5CDD505-2E9C-101B-9397-08002B2CF9AE}" pid="154" name="FSC#COOELAK@1.1001:SettlementApprovedAt">
    <vt:lpwstr/>
  </property>
  <property fmtid="{D5CDD505-2E9C-101B-9397-08002B2CF9AE}" pid="155" name="FSC#COOELAK@1.1001:BaseNumber">
    <vt:lpwstr/>
  </property>
  <property fmtid="{D5CDD505-2E9C-101B-9397-08002B2CF9AE}" pid="156" name="FSC#COOELAK@1.1001:CurrentUserRolePos">
    <vt:lpwstr>Leitung</vt:lpwstr>
  </property>
  <property fmtid="{D5CDD505-2E9C-101B-9397-08002B2CF9AE}" pid="157" name="FSC#COOELAK@1.1001:CurrentUserEmail">
    <vt:lpwstr>Thomas.Stroese@stmuk.bayern.de</vt:lpwstr>
  </property>
  <property fmtid="{D5CDD505-2E9C-101B-9397-08002B2CF9AE}" pid="158" name="FSC#ELAKGOV@1.1001:PersonalSubjGender">
    <vt:lpwstr/>
  </property>
  <property fmtid="{D5CDD505-2E9C-101B-9397-08002B2CF9AE}" pid="159" name="FSC#ELAKGOV@1.1001:PersonalSubjFirstName">
    <vt:lpwstr/>
  </property>
  <property fmtid="{D5CDD505-2E9C-101B-9397-08002B2CF9AE}" pid="160" name="FSC#ELAKGOV@1.1001:PersonalSubjSurName">
    <vt:lpwstr/>
  </property>
  <property fmtid="{D5CDD505-2E9C-101B-9397-08002B2CF9AE}" pid="161" name="FSC#ELAKGOV@1.1001:PersonalSubjSalutation">
    <vt:lpwstr/>
  </property>
  <property fmtid="{D5CDD505-2E9C-101B-9397-08002B2CF9AE}" pid="162" name="FSC#ELAKGOV@1.1001:PersonalSubjAddress">
    <vt:lpwstr/>
  </property>
  <property fmtid="{D5CDD505-2E9C-101B-9397-08002B2CF9AE}" pid="163" name="FSC#ATSTATECFG@1.1001:Office">
    <vt:lpwstr/>
  </property>
  <property fmtid="{D5CDD505-2E9C-101B-9397-08002B2CF9AE}" pid="164" name="FSC#ATSTATECFG@1.1001:Agent">
    <vt:lpwstr/>
  </property>
  <property fmtid="{D5CDD505-2E9C-101B-9397-08002B2CF9AE}" pid="165" name="FSC#ATSTATECFG@1.1001:AgentPhone">
    <vt:lpwstr/>
  </property>
  <property fmtid="{D5CDD505-2E9C-101B-9397-08002B2CF9AE}" pid="166" name="FSC#ATSTATECFG@1.1001:DepartmentFax">
    <vt:lpwstr/>
  </property>
  <property fmtid="{D5CDD505-2E9C-101B-9397-08002B2CF9AE}" pid="167" name="FSC#ATSTATECFG@1.1001:DepartmentEmail">
    <vt:lpwstr/>
  </property>
  <property fmtid="{D5CDD505-2E9C-101B-9397-08002B2CF9AE}" pid="168" name="FSC#ATSTATECFG@1.1001:SubfileDate">
    <vt:lpwstr/>
  </property>
  <property fmtid="{D5CDD505-2E9C-101B-9397-08002B2CF9AE}" pid="169" name="FSC#ATSTATECFG@1.1001:SubfileSubject">
    <vt:lpwstr/>
  </property>
  <property fmtid="{D5CDD505-2E9C-101B-9397-08002B2CF9AE}" pid="170" name="FSC#ATSTATECFG@1.1001:DepartmentZipCode">
    <vt:lpwstr/>
  </property>
  <property fmtid="{D5CDD505-2E9C-101B-9397-08002B2CF9AE}" pid="171" name="FSC#ATSTATECFG@1.1001:DepartmentCountry">
    <vt:lpwstr/>
  </property>
  <property fmtid="{D5CDD505-2E9C-101B-9397-08002B2CF9AE}" pid="172" name="FSC#ATSTATECFG@1.1001:DepartmentCity">
    <vt:lpwstr/>
  </property>
  <property fmtid="{D5CDD505-2E9C-101B-9397-08002B2CF9AE}" pid="173" name="FSC#ATSTATECFG@1.1001:DepartmentStreet">
    <vt:lpwstr/>
  </property>
  <property fmtid="{D5CDD505-2E9C-101B-9397-08002B2CF9AE}" pid="174" name="FSC#CCAPRECONFIGG@15.1001:DepartmentON">
    <vt:lpwstr/>
  </property>
  <property fmtid="{D5CDD505-2E9C-101B-9397-08002B2CF9AE}" pid="175" name="FSC#ATSTATECFG@1.1001:DepartmentDVR">
    <vt:lpwstr/>
  </property>
  <property fmtid="{D5CDD505-2E9C-101B-9397-08002B2CF9AE}" pid="176" name="FSC#ATSTATECFG@1.1001:DepartmentUID">
    <vt:lpwstr/>
  </property>
  <property fmtid="{D5CDD505-2E9C-101B-9397-08002B2CF9AE}" pid="177" name="FSC#ATSTATECFG@1.1001:SubfileReference">
    <vt:lpwstr/>
  </property>
  <property fmtid="{D5CDD505-2E9C-101B-9397-08002B2CF9AE}" pid="178" name="FSC#ATSTATECFG@1.1001:Clause">
    <vt:lpwstr/>
  </property>
  <property fmtid="{D5CDD505-2E9C-101B-9397-08002B2CF9AE}" pid="179" name="FSC#ATSTATECFG@1.1001:ApprovedSignature">
    <vt:lpwstr/>
  </property>
  <property fmtid="{D5CDD505-2E9C-101B-9397-08002B2CF9AE}" pid="180" name="FSC#ATSTATECFG@1.1001:BankAccount">
    <vt:lpwstr/>
  </property>
  <property fmtid="{D5CDD505-2E9C-101B-9397-08002B2CF9AE}" pid="181" name="FSC#ATSTATECFG@1.1001:BankAccountOwner">
    <vt:lpwstr/>
  </property>
  <property fmtid="{D5CDD505-2E9C-101B-9397-08002B2CF9AE}" pid="182" name="FSC#ATSTATECFG@1.1001:BankInstitute">
    <vt:lpwstr/>
  </property>
  <property fmtid="{D5CDD505-2E9C-101B-9397-08002B2CF9AE}" pid="183" name="FSC#ATSTATECFG@1.1001:BankAccountID">
    <vt:lpwstr/>
  </property>
  <property fmtid="{D5CDD505-2E9C-101B-9397-08002B2CF9AE}" pid="184" name="FSC#ATSTATECFG@1.1001:BankAccountIBAN">
    <vt:lpwstr/>
  </property>
  <property fmtid="{D5CDD505-2E9C-101B-9397-08002B2CF9AE}" pid="185" name="FSC#ATSTATECFG@1.1001:BankAccountBIC">
    <vt:lpwstr/>
  </property>
  <property fmtid="{D5CDD505-2E9C-101B-9397-08002B2CF9AE}" pid="186" name="FSC#ATSTATECFG@1.1001:BankName">
    <vt:lpwstr/>
  </property>
  <property fmtid="{D5CDD505-2E9C-101B-9397-08002B2CF9AE}" pid="187" name="FSC#COOELAK@1.1001:ObjectAddressees">
    <vt:lpwstr/>
  </property>
  <property fmtid="{D5CDD505-2E9C-101B-9397-08002B2CF9AE}" pid="188" name="FSC#COOELAK@1.1001:replyreference">
    <vt:lpwstr/>
  </property>
  <property fmtid="{D5CDD505-2E9C-101B-9397-08002B2CF9AE}" pid="189" name="FSC#FSCGOVDE@1.1001:FileRefOUEmail">
    <vt:lpwstr/>
  </property>
  <property fmtid="{D5CDD505-2E9C-101B-9397-08002B2CF9AE}" pid="190" name="FSC#FSCGOVDE@1.1001:ProcedureReference">
    <vt:lpwstr/>
  </property>
  <property fmtid="{D5CDD505-2E9C-101B-9397-08002B2CF9AE}" pid="191" name="FSC#FSCGOVDE@1.1001:FileSubject">
    <vt:lpwstr/>
  </property>
  <property fmtid="{D5CDD505-2E9C-101B-9397-08002B2CF9AE}" pid="192" name="FSC#FSCGOVDE@1.1001:ProcedureSubject">
    <vt:lpwstr/>
  </property>
  <property fmtid="{D5CDD505-2E9C-101B-9397-08002B2CF9AE}" pid="193" name="FSC#FSCGOVDE@1.1001:SignFinalVersionBy">
    <vt:lpwstr/>
  </property>
  <property fmtid="{D5CDD505-2E9C-101B-9397-08002B2CF9AE}" pid="194" name="FSC#FSCGOVDE@1.1001:SignFinalVersionAt">
    <vt:lpwstr/>
  </property>
  <property fmtid="{D5CDD505-2E9C-101B-9397-08002B2CF9AE}" pid="195" name="FSC#FSCGOVDE@1.1001:ProcedureRefBarCode">
    <vt:lpwstr/>
  </property>
  <property fmtid="{D5CDD505-2E9C-101B-9397-08002B2CF9AE}" pid="196" name="FSC#FSCGOVDE@1.1001:FileAddSubj">
    <vt:lpwstr/>
  </property>
  <property fmtid="{D5CDD505-2E9C-101B-9397-08002B2CF9AE}" pid="197" name="FSC#FSCGOVDE@1.1001:DocumentSubj">
    <vt:lpwstr/>
  </property>
  <property fmtid="{D5CDD505-2E9C-101B-9397-08002B2CF9AE}" pid="198" name="FSC#FSCGOVDE@1.1001:FileRel">
    <vt:lpwstr/>
  </property>
  <property fmtid="{D5CDD505-2E9C-101B-9397-08002B2CF9AE}" pid="199" name="FSC#DEPRECONFIG@15.1001:DocumentTitle">
    <vt:lpwstr/>
  </property>
  <property fmtid="{D5CDD505-2E9C-101B-9397-08002B2CF9AE}" pid="200" name="FSC#DEPRECONFIG@15.1001:ProcedureTitle">
    <vt:lpwstr/>
  </property>
  <property fmtid="{D5CDD505-2E9C-101B-9397-08002B2CF9AE}" pid="201" name="FSC#DEPRECONFIG@15.1001:AuthorTitle">
    <vt:lpwstr>Dr.</vt:lpwstr>
  </property>
  <property fmtid="{D5CDD505-2E9C-101B-9397-08002B2CF9AE}" pid="202" name="FSC#DEPRECONFIG@15.1001:AuthorSalution">
    <vt:lpwstr>Frau</vt:lpwstr>
  </property>
  <property fmtid="{D5CDD505-2E9C-101B-9397-08002B2CF9AE}" pid="203" name="FSC#DEPRECONFIG@15.1001:AuthorName">
    <vt:lpwstr>Jolanta Guesdon</vt:lpwstr>
  </property>
  <property fmtid="{D5CDD505-2E9C-101B-9397-08002B2CF9AE}" pid="204" name="FSC#DEPRECONFIG@15.1001:AuthorMail">
    <vt:lpwstr>jolanta.guesdon@stmuk.bayern.de</vt:lpwstr>
  </property>
  <property fmtid="{D5CDD505-2E9C-101B-9397-08002B2CF9AE}" pid="205" name="FSC#DEPRECONFIG@15.1001:AuthorTelephone">
    <vt:lpwstr>1673</vt:lpwstr>
  </property>
  <property fmtid="{D5CDD505-2E9C-101B-9397-08002B2CF9AE}" pid="206" name="FSC#DEPRECONFIG@15.1001:AuthorFax">
    <vt:lpwstr/>
  </property>
  <property fmtid="{D5CDD505-2E9C-101B-9397-08002B2CF9AE}" pid="207" name="FSC#DEPRECONFIG@15.1001:AuthorOE">
    <vt:lpwstr>I.3 (Referat I.3 (StMUK))</vt:lpwstr>
  </property>
  <property fmtid="{D5CDD505-2E9C-101B-9397-08002B2CF9AE}" pid="208" name="FSC#COOSYSTEM@1.1:Container">
    <vt:lpwstr>COO.4001.106.5.9740969</vt:lpwstr>
  </property>
  <property fmtid="{D5CDD505-2E9C-101B-9397-08002B2CF9AE}" pid="209" name="FSC#FSCFOLIO@1.1001:docpropproject">
    <vt:lpwstr/>
  </property>
  <property fmtid="{D5CDD505-2E9C-101B-9397-08002B2CF9AE}" pid="210" name="SlidoAppVersion">
    <vt:lpwstr>1.5.3.3511</vt:lpwstr>
  </property>
</Properties>
</file>